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1"/>
  </p:sldMasterIdLst>
  <p:sldIdLst>
    <p:sldId id="256" r:id="rId2"/>
    <p:sldId id="3593" r:id="rId3"/>
    <p:sldId id="3616" r:id="rId4"/>
    <p:sldId id="257" r:id="rId5"/>
    <p:sldId id="3615" r:id="rId6"/>
    <p:sldId id="258" r:id="rId7"/>
    <p:sldId id="3584" r:id="rId8"/>
    <p:sldId id="259" r:id="rId9"/>
    <p:sldId id="260" r:id="rId10"/>
    <p:sldId id="3597" r:id="rId11"/>
    <p:sldId id="261" r:id="rId12"/>
    <p:sldId id="3585" r:id="rId13"/>
    <p:sldId id="262" r:id="rId14"/>
    <p:sldId id="263" r:id="rId15"/>
    <p:sldId id="264" r:id="rId16"/>
    <p:sldId id="265" r:id="rId17"/>
    <p:sldId id="266" r:id="rId18"/>
    <p:sldId id="267" r:id="rId19"/>
    <p:sldId id="268" r:id="rId20"/>
    <p:sldId id="269" r:id="rId21"/>
    <p:sldId id="3561" r:id="rId22"/>
    <p:sldId id="918" r:id="rId23"/>
    <p:sldId id="3553" r:id="rId24"/>
    <p:sldId id="3554" r:id="rId25"/>
    <p:sldId id="3562" r:id="rId26"/>
    <p:sldId id="3563" r:id="rId27"/>
    <p:sldId id="3564" r:id="rId28"/>
    <p:sldId id="3565" r:id="rId29"/>
    <p:sldId id="3566" r:id="rId30"/>
    <p:sldId id="3567" r:id="rId31"/>
    <p:sldId id="3568" r:id="rId32"/>
    <p:sldId id="3569" r:id="rId33"/>
    <p:sldId id="3570" r:id="rId34"/>
    <p:sldId id="3571" r:id="rId35"/>
    <p:sldId id="3603" r:id="rId36"/>
    <p:sldId id="3573" r:id="rId37"/>
    <p:sldId id="3574" r:id="rId38"/>
    <p:sldId id="3575" r:id="rId39"/>
    <p:sldId id="3572" r:id="rId40"/>
    <p:sldId id="3576" r:id="rId41"/>
    <p:sldId id="3577" r:id="rId42"/>
    <p:sldId id="3604" r:id="rId43"/>
    <p:sldId id="3578" r:id="rId44"/>
    <p:sldId id="3579" r:id="rId45"/>
    <p:sldId id="3580" r:id="rId46"/>
    <p:sldId id="3581" r:id="rId47"/>
    <p:sldId id="3582" r:id="rId48"/>
    <p:sldId id="3583" r:id="rId49"/>
    <p:sldId id="3586" r:id="rId50"/>
    <p:sldId id="3587" r:id="rId51"/>
    <p:sldId id="3589" r:id="rId52"/>
    <p:sldId id="3588" r:id="rId53"/>
    <p:sldId id="3590" r:id="rId54"/>
    <p:sldId id="3591" r:id="rId55"/>
    <p:sldId id="3595" r:id="rId56"/>
    <p:sldId id="3596" r:id="rId57"/>
    <p:sldId id="3602" r:id="rId58"/>
    <p:sldId id="3605" r:id="rId59"/>
    <p:sldId id="3606" r:id="rId60"/>
    <p:sldId id="3607" r:id="rId61"/>
    <p:sldId id="3613" r:id="rId62"/>
    <p:sldId id="3614" r:id="rId63"/>
    <p:sldId id="3598" r:id="rId64"/>
    <p:sldId id="3599" r:id="rId65"/>
    <p:sldId id="3600" r:id="rId66"/>
    <p:sldId id="3601" r:id="rId67"/>
    <p:sldId id="3608" r:id="rId68"/>
    <p:sldId id="3609" r:id="rId69"/>
    <p:sldId id="3610" r:id="rId70"/>
    <p:sldId id="3611" r:id="rId71"/>
    <p:sldId id="3612" r:id="rId72"/>
    <p:sldId id="3594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728"/>
  </p:normalViewPr>
  <p:slideViewPr>
    <p:cSldViewPr snapToGrid="0" snapToObjects="1">
      <p:cViewPr varScale="1">
        <p:scale>
          <a:sx n="110" d="100"/>
          <a:sy n="110" d="100"/>
        </p:scale>
        <p:origin x="63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339BE7-BFB1-453B-9CCB-5EDCEC0DEB32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9A035001-F673-4A2B-AF51-BA66099DFB3E}">
      <dgm:prSet/>
      <dgm:spPr/>
      <dgm:t>
        <a:bodyPr/>
        <a:lstStyle/>
        <a:p>
          <a:r>
            <a:rPr lang="en-US" b="1"/>
            <a:t>S</a:t>
          </a:r>
          <a:r>
            <a:rPr lang="en-US"/>
            <a:t>ALIVATION</a:t>
          </a:r>
        </a:p>
      </dgm:t>
    </dgm:pt>
    <dgm:pt modelId="{C60A6F90-A6B5-4EF9-87CC-574863587EEA}" type="parTrans" cxnId="{3CBDC0A4-99B0-407D-B30A-85C6A905DDA6}">
      <dgm:prSet/>
      <dgm:spPr/>
      <dgm:t>
        <a:bodyPr/>
        <a:lstStyle/>
        <a:p>
          <a:endParaRPr lang="en-US"/>
        </a:p>
      </dgm:t>
    </dgm:pt>
    <dgm:pt modelId="{D08F89B3-FAD7-446A-B11C-3410882F346B}" type="sibTrans" cxnId="{3CBDC0A4-99B0-407D-B30A-85C6A905DDA6}">
      <dgm:prSet/>
      <dgm:spPr/>
      <dgm:t>
        <a:bodyPr/>
        <a:lstStyle/>
        <a:p>
          <a:endParaRPr lang="en-US"/>
        </a:p>
      </dgm:t>
    </dgm:pt>
    <dgm:pt modelId="{FBF501DA-686A-4A89-83AD-B9E2B763AA22}">
      <dgm:prSet/>
      <dgm:spPr/>
      <dgm:t>
        <a:bodyPr/>
        <a:lstStyle/>
        <a:p>
          <a:r>
            <a:rPr lang="en-US" b="1"/>
            <a:t>L</a:t>
          </a:r>
          <a:r>
            <a:rPr lang="en-US"/>
            <a:t>ACRIMATION</a:t>
          </a:r>
        </a:p>
      </dgm:t>
    </dgm:pt>
    <dgm:pt modelId="{4DAE4E4B-A672-4BA6-9B83-1C253735859E}" type="parTrans" cxnId="{EEC72394-9FA0-4530-840B-2C69BCFEF194}">
      <dgm:prSet/>
      <dgm:spPr/>
      <dgm:t>
        <a:bodyPr/>
        <a:lstStyle/>
        <a:p>
          <a:endParaRPr lang="en-US"/>
        </a:p>
      </dgm:t>
    </dgm:pt>
    <dgm:pt modelId="{10CBBA01-D2A5-4DBF-805D-51DAD13ADBF6}" type="sibTrans" cxnId="{EEC72394-9FA0-4530-840B-2C69BCFEF194}">
      <dgm:prSet/>
      <dgm:spPr/>
      <dgm:t>
        <a:bodyPr/>
        <a:lstStyle/>
        <a:p>
          <a:endParaRPr lang="en-US"/>
        </a:p>
      </dgm:t>
    </dgm:pt>
    <dgm:pt modelId="{DC4CCA21-1848-49A8-9001-A804BF52C4E0}">
      <dgm:prSet/>
      <dgm:spPr/>
      <dgm:t>
        <a:bodyPr/>
        <a:lstStyle/>
        <a:p>
          <a:r>
            <a:rPr lang="en-US" b="1"/>
            <a:t>U</a:t>
          </a:r>
          <a:r>
            <a:rPr lang="en-US"/>
            <a:t>RINATION</a:t>
          </a:r>
        </a:p>
      </dgm:t>
    </dgm:pt>
    <dgm:pt modelId="{99D6873F-2C09-49D5-A133-82260B761AF8}" type="parTrans" cxnId="{EF115175-F27A-4AF1-B628-98B108BDEB1A}">
      <dgm:prSet/>
      <dgm:spPr/>
      <dgm:t>
        <a:bodyPr/>
        <a:lstStyle/>
        <a:p>
          <a:endParaRPr lang="en-US"/>
        </a:p>
      </dgm:t>
    </dgm:pt>
    <dgm:pt modelId="{F5C9195A-744C-4D06-BCB4-62C1A50B2043}" type="sibTrans" cxnId="{EF115175-F27A-4AF1-B628-98B108BDEB1A}">
      <dgm:prSet/>
      <dgm:spPr/>
      <dgm:t>
        <a:bodyPr/>
        <a:lstStyle/>
        <a:p>
          <a:endParaRPr lang="en-US"/>
        </a:p>
      </dgm:t>
    </dgm:pt>
    <dgm:pt modelId="{B6C585FD-5A42-469A-B4BA-43B6D6B46782}">
      <dgm:prSet/>
      <dgm:spPr/>
      <dgm:t>
        <a:bodyPr/>
        <a:lstStyle/>
        <a:p>
          <a:r>
            <a:rPr lang="en-US" b="1"/>
            <a:t>D</a:t>
          </a:r>
          <a:r>
            <a:rPr lang="en-US"/>
            <a:t>EFECATION</a:t>
          </a:r>
        </a:p>
      </dgm:t>
    </dgm:pt>
    <dgm:pt modelId="{02DA60B6-09F2-45C9-8C1A-B6A5FCFA38B2}" type="parTrans" cxnId="{3B264034-BD32-49D0-B078-661849C83F66}">
      <dgm:prSet/>
      <dgm:spPr/>
      <dgm:t>
        <a:bodyPr/>
        <a:lstStyle/>
        <a:p>
          <a:endParaRPr lang="en-US"/>
        </a:p>
      </dgm:t>
    </dgm:pt>
    <dgm:pt modelId="{C7FB7D38-5BDC-4CD1-B8A1-AB35D895C01F}" type="sibTrans" cxnId="{3B264034-BD32-49D0-B078-661849C83F66}">
      <dgm:prSet/>
      <dgm:spPr/>
      <dgm:t>
        <a:bodyPr/>
        <a:lstStyle/>
        <a:p>
          <a:endParaRPr lang="en-US"/>
        </a:p>
      </dgm:t>
    </dgm:pt>
    <dgm:pt modelId="{87C31451-E85B-400D-93B8-8647D903CA48}">
      <dgm:prSet/>
      <dgm:spPr/>
      <dgm:t>
        <a:bodyPr/>
        <a:lstStyle/>
        <a:p>
          <a:r>
            <a:rPr lang="en-US"/>
            <a:t>GI PAIN</a:t>
          </a:r>
        </a:p>
      </dgm:t>
    </dgm:pt>
    <dgm:pt modelId="{02AA2F55-0E8D-4DC0-A535-5D91E62F9E9E}" type="parTrans" cxnId="{7B66F994-FA34-4DD7-8FE9-3BC8B2E9046C}">
      <dgm:prSet/>
      <dgm:spPr/>
      <dgm:t>
        <a:bodyPr/>
        <a:lstStyle/>
        <a:p>
          <a:endParaRPr lang="en-US"/>
        </a:p>
      </dgm:t>
    </dgm:pt>
    <dgm:pt modelId="{E53C55D1-8AEF-4389-9E0B-97826F7971EE}" type="sibTrans" cxnId="{7B66F994-FA34-4DD7-8FE9-3BC8B2E9046C}">
      <dgm:prSet/>
      <dgm:spPr/>
      <dgm:t>
        <a:bodyPr/>
        <a:lstStyle/>
        <a:p>
          <a:endParaRPr lang="en-US"/>
        </a:p>
      </dgm:t>
    </dgm:pt>
    <dgm:pt modelId="{CCBD7B06-644D-4E3B-A075-C3C51B5AE894}">
      <dgm:prSet/>
      <dgm:spPr/>
      <dgm:t>
        <a:bodyPr/>
        <a:lstStyle/>
        <a:p>
          <a:r>
            <a:rPr lang="en-US"/>
            <a:t>EMESIS</a:t>
          </a:r>
        </a:p>
      </dgm:t>
    </dgm:pt>
    <dgm:pt modelId="{93F8AD4E-25AE-402A-964A-2D41E896ABE1}" type="parTrans" cxnId="{5BC015A9-FF22-48F7-9363-A65B616CDFD8}">
      <dgm:prSet/>
      <dgm:spPr/>
      <dgm:t>
        <a:bodyPr/>
        <a:lstStyle/>
        <a:p>
          <a:endParaRPr lang="en-US"/>
        </a:p>
      </dgm:t>
    </dgm:pt>
    <dgm:pt modelId="{9300A699-1897-4A41-955C-CD671252D3D5}" type="sibTrans" cxnId="{5BC015A9-FF22-48F7-9363-A65B616CDFD8}">
      <dgm:prSet/>
      <dgm:spPr/>
      <dgm:t>
        <a:bodyPr/>
        <a:lstStyle/>
        <a:p>
          <a:endParaRPr lang="en-US"/>
        </a:p>
      </dgm:t>
    </dgm:pt>
    <dgm:pt modelId="{F1AE21B1-88C5-47C0-8506-12F7A0E7A22D}">
      <dgm:prSet/>
      <dgm:spPr/>
      <dgm:t>
        <a:bodyPr/>
        <a:lstStyle/>
        <a:p>
          <a:r>
            <a:rPr lang="en-US"/>
            <a:t>REST AND DIGEST</a:t>
          </a:r>
        </a:p>
      </dgm:t>
    </dgm:pt>
    <dgm:pt modelId="{A57CE631-9354-4661-933E-7F85E3DC9E90}" type="parTrans" cxnId="{59555511-203F-4E8E-99C3-95C0DF15E520}">
      <dgm:prSet/>
      <dgm:spPr/>
      <dgm:t>
        <a:bodyPr/>
        <a:lstStyle/>
        <a:p>
          <a:endParaRPr lang="en-US"/>
        </a:p>
      </dgm:t>
    </dgm:pt>
    <dgm:pt modelId="{8C5C7638-7654-4645-AABF-904B091C7931}" type="sibTrans" cxnId="{59555511-203F-4E8E-99C3-95C0DF15E520}">
      <dgm:prSet/>
      <dgm:spPr/>
      <dgm:t>
        <a:bodyPr/>
        <a:lstStyle/>
        <a:p>
          <a:endParaRPr lang="en-US"/>
        </a:p>
      </dgm:t>
    </dgm:pt>
    <dgm:pt modelId="{63E20A34-7221-4B22-A435-FBE6CD12AC26}">
      <dgm:prSet/>
      <dgm:spPr/>
      <dgm:t>
        <a:bodyPr/>
        <a:lstStyle/>
        <a:p>
          <a:r>
            <a:rPr lang="en-US"/>
            <a:t>VASODILATION</a:t>
          </a:r>
        </a:p>
      </dgm:t>
    </dgm:pt>
    <dgm:pt modelId="{A902FEF2-8975-42CA-BC3E-AE80D4DB5F0E}" type="parTrans" cxnId="{D6DC3312-BD1F-4749-A8D5-BCC7C48C1F59}">
      <dgm:prSet/>
      <dgm:spPr/>
      <dgm:t>
        <a:bodyPr/>
        <a:lstStyle/>
        <a:p>
          <a:endParaRPr lang="en-US"/>
        </a:p>
      </dgm:t>
    </dgm:pt>
    <dgm:pt modelId="{BC63FAB5-38FB-40AC-B03C-16FB132D4C85}" type="sibTrans" cxnId="{D6DC3312-BD1F-4749-A8D5-BCC7C48C1F59}">
      <dgm:prSet/>
      <dgm:spPr/>
      <dgm:t>
        <a:bodyPr/>
        <a:lstStyle/>
        <a:p>
          <a:endParaRPr lang="en-US"/>
        </a:p>
      </dgm:t>
    </dgm:pt>
    <dgm:pt modelId="{EC1C1151-7B49-4BFA-83FE-91E766B53130}">
      <dgm:prSet/>
      <dgm:spPr/>
      <dgm:t>
        <a:bodyPr/>
        <a:lstStyle/>
        <a:p>
          <a:r>
            <a:rPr lang="en-US"/>
            <a:t>BRONCHOCONSTRICTION</a:t>
          </a:r>
        </a:p>
      </dgm:t>
    </dgm:pt>
    <dgm:pt modelId="{AF067D0A-E434-442C-9CC9-DFA979B6E796}" type="parTrans" cxnId="{287BF542-E25E-4EC3-9389-3522404504B2}">
      <dgm:prSet/>
      <dgm:spPr/>
      <dgm:t>
        <a:bodyPr/>
        <a:lstStyle/>
        <a:p>
          <a:endParaRPr lang="en-US"/>
        </a:p>
      </dgm:t>
    </dgm:pt>
    <dgm:pt modelId="{BFBD54F2-360B-4FFD-8926-F02321E36ED2}" type="sibTrans" cxnId="{287BF542-E25E-4EC3-9389-3522404504B2}">
      <dgm:prSet/>
      <dgm:spPr/>
      <dgm:t>
        <a:bodyPr/>
        <a:lstStyle/>
        <a:p>
          <a:endParaRPr lang="en-US"/>
        </a:p>
      </dgm:t>
    </dgm:pt>
    <dgm:pt modelId="{E7E95A7F-AD1D-A848-A585-6EF44AAAF4B1}" type="pres">
      <dgm:prSet presAssocID="{5E339BE7-BFB1-453B-9CCB-5EDCEC0DEB32}" presName="linear" presStyleCnt="0">
        <dgm:presLayoutVars>
          <dgm:animLvl val="lvl"/>
          <dgm:resizeHandles val="exact"/>
        </dgm:presLayoutVars>
      </dgm:prSet>
      <dgm:spPr/>
    </dgm:pt>
    <dgm:pt modelId="{7FA726E5-6132-B749-BA7B-B197398A150A}" type="pres">
      <dgm:prSet presAssocID="{9A035001-F673-4A2B-AF51-BA66099DFB3E}" presName="parentText" presStyleLbl="node1" presStyleIdx="0" presStyleCnt="9">
        <dgm:presLayoutVars>
          <dgm:chMax val="0"/>
          <dgm:bulletEnabled val="1"/>
        </dgm:presLayoutVars>
      </dgm:prSet>
      <dgm:spPr/>
    </dgm:pt>
    <dgm:pt modelId="{1DB6A067-CF11-9F4E-A1CF-561CA6448073}" type="pres">
      <dgm:prSet presAssocID="{D08F89B3-FAD7-446A-B11C-3410882F346B}" presName="spacer" presStyleCnt="0"/>
      <dgm:spPr/>
    </dgm:pt>
    <dgm:pt modelId="{F997F273-0C2B-4447-A506-AC52EC2050B7}" type="pres">
      <dgm:prSet presAssocID="{FBF501DA-686A-4A89-83AD-B9E2B763AA22}" presName="parentText" presStyleLbl="node1" presStyleIdx="1" presStyleCnt="9">
        <dgm:presLayoutVars>
          <dgm:chMax val="0"/>
          <dgm:bulletEnabled val="1"/>
        </dgm:presLayoutVars>
      </dgm:prSet>
      <dgm:spPr/>
    </dgm:pt>
    <dgm:pt modelId="{ED6B4A4F-91B1-ED43-9DAF-93D42A8AEF6F}" type="pres">
      <dgm:prSet presAssocID="{10CBBA01-D2A5-4DBF-805D-51DAD13ADBF6}" presName="spacer" presStyleCnt="0"/>
      <dgm:spPr/>
    </dgm:pt>
    <dgm:pt modelId="{A738D4ED-DB88-E34E-B84B-FF4E55FE7CD0}" type="pres">
      <dgm:prSet presAssocID="{DC4CCA21-1848-49A8-9001-A804BF52C4E0}" presName="parentText" presStyleLbl="node1" presStyleIdx="2" presStyleCnt="9">
        <dgm:presLayoutVars>
          <dgm:chMax val="0"/>
          <dgm:bulletEnabled val="1"/>
        </dgm:presLayoutVars>
      </dgm:prSet>
      <dgm:spPr/>
    </dgm:pt>
    <dgm:pt modelId="{8A813DC6-42A0-EF41-80CF-1A38DCD022CE}" type="pres">
      <dgm:prSet presAssocID="{F5C9195A-744C-4D06-BCB4-62C1A50B2043}" presName="spacer" presStyleCnt="0"/>
      <dgm:spPr/>
    </dgm:pt>
    <dgm:pt modelId="{447F13FE-13A7-1947-839C-2C72A5CCEE0B}" type="pres">
      <dgm:prSet presAssocID="{B6C585FD-5A42-469A-B4BA-43B6D6B46782}" presName="parentText" presStyleLbl="node1" presStyleIdx="3" presStyleCnt="9">
        <dgm:presLayoutVars>
          <dgm:chMax val="0"/>
          <dgm:bulletEnabled val="1"/>
        </dgm:presLayoutVars>
      </dgm:prSet>
      <dgm:spPr/>
    </dgm:pt>
    <dgm:pt modelId="{FBDEA37B-FAD1-C04E-8AA1-308E047C7DB4}" type="pres">
      <dgm:prSet presAssocID="{C7FB7D38-5BDC-4CD1-B8A1-AB35D895C01F}" presName="spacer" presStyleCnt="0"/>
      <dgm:spPr/>
    </dgm:pt>
    <dgm:pt modelId="{47B04ED3-FB8D-E04F-A8F8-C5B754F2CD67}" type="pres">
      <dgm:prSet presAssocID="{87C31451-E85B-400D-93B8-8647D903CA48}" presName="parentText" presStyleLbl="node1" presStyleIdx="4" presStyleCnt="9">
        <dgm:presLayoutVars>
          <dgm:chMax val="0"/>
          <dgm:bulletEnabled val="1"/>
        </dgm:presLayoutVars>
      </dgm:prSet>
      <dgm:spPr/>
    </dgm:pt>
    <dgm:pt modelId="{13DA8E18-9426-6B41-961C-773D5B121AA8}" type="pres">
      <dgm:prSet presAssocID="{E53C55D1-8AEF-4389-9E0B-97826F7971EE}" presName="spacer" presStyleCnt="0"/>
      <dgm:spPr/>
    </dgm:pt>
    <dgm:pt modelId="{AC2C7A0A-C726-304F-9077-83E009AE1727}" type="pres">
      <dgm:prSet presAssocID="{CCBD7B06-644D-4E3B-A075-C3C51B5AE894}" presName="parentText" presStyleLbl="node1" presStyleIdx="5" presStyleCnt="9">
        <dgm:presLayoutVars>
          <dgm:chMax val="0"/>
          <dgm:bulletEnabled val="1"/>
        </dgm:presLayoutVars>
      </dgm:prSet>
      <dgm:spPr/>
    </dgm:pt>
    <dgm:pt modelId="{A98C2CCE-BC78-054E-92EB-E0430A666C72}" type="pres">
      <dgm:prSet presAssocID="{9300A699-1897-4A41-955C-CD671252D3D5}" presName="spacer" presStyleCnt="0"/>
      <dgm:spPr/>
    </dgm:pt>
    <dgm:pt modelId="{52083D03-442F-D44A-8A39-B3E31C299A3E}" type="pres">
      <dgm:prSet presAssocID="{F1AE21B1-88C5-47C0-8506-12F7A0E7A22D}" presName="parentText" presStyleLbl="node1" presStyleIdx="6" presStyleCnt="9">
        <dgm:presLayoutVars>
          <dgm:chMax val="0"/>
          <dgm:bulletEnabled val="1"/>
        </dgm:presLayoutVars>
      </dgm:prSet>
      <dgm:spPr/>
    </dgm:pt>
    <dgm:pt modelId="{75F9B036-F3DF-024E-BFFD-1F0950BD4C16}" type="pres">
      <dgm:prSet presAssocID="{8C5C7638-7654-4645-AABF-904B091C7931}" presName="spacer" presStyleCnt="0"/>
      <dgm:spPr/>
    </dgm:pt>
    <dgm:pt modelId="{2804C64C-6DB3-8D40-9BA5-C6F7EBE7A7F7}" type="pres">
      <dgm:prSet presAssocID="{63E20A34-7221-4B22-A435-FBE6CD12AC26}" presName="parentText" presStyleLbl="node1" presStyleIdx="7" presStyleCnt="9">
        <dgm:presLayoutVars>
          <dgm:chMax val="0"/>
          <dgm:bulletEnabled val="1"/>
        </dgm:presLayoutVars>
      </dgm:prSet>
      <dgm:spPr/>
    </dgm:pt>
    <dgm:pt modelId="{C4629639-A2CD-0D40-B860-5BF83A612858}" type="pres">
      <dgm:prSet presAssocID="{BC63FAB5-38FB-40AC-B03C-16FB132D4C85}" presName="spacer" presStyleCnt="0"/>
      <dgm:spPr/>
    </dgm:pt>
    <dgm:pt modelId="{DC526079-F875-7C47-B9A9-E93DFEEA99D6}" type="pres">
      <dgm:prSet presAssocID="{EC1C1151-7B49-4BFA-83FE-91E766B53130}" presName="parentText" presStyleLbl="node1" presStyleIdx="8" presStyleCnt="9">
        <dgm:presLayoutVars>
          <dgm:chMax val="0"/>
          <dgm:bulletEnabled val="1"/>
        </dgm:presLayoutVars>
      </dgm:prSet>
      <dgm:spPr/>
    </dgm:pt>
  </dgm:ptLst>
  <dgm:cxnLst>
    <dgm:cxn modelId="{CAE5A809-7C19-2A45-AE65-7E81027E61B8}" type="presOf" srcId="{EC1C1151-7B49-4BFA-83FE-91E766B53130}" destId="{DC526079-F875-7C47-B9A9-E93DFEEA99D6}" srcOrd="0" destOrd="0" presId="urn:microsoft.com/office/officeart/2005/8/layout/vList2"/>
    <dgm:cxn modelId="{59555511-203F-4E8E-99C3-95C0DF15E520}" srcId="{5E339BE7-BFB1-453B-9CCB-5EDCEC0DEB32}" destId="{F1AE21B1-88C5-47C0-8506-12F7A0E7A22D}" srcOrd="6" destOrd="0" parTransId="{A57CE631-9354-4661-933E-7F85E3DC9E90}" sibTransId="{8C5C7638-7654-4645-AABF-904B091C7931}"/>
    <dgm:cxn modelId="{D6DC3312-BD1F-4749-A8D5-BCC7C48C1F59}" srcId="{5E339BE7-BFB1-453B-9CCB-5EDCEC0DEB32}" destId="{63E20A34-7221-4B22-A435-FBE6CD12AC26}" srcOrd="7" destOrd="0" parTransId="{A902FEF2-8975-42CA-BC3E-AE80D4DB5F0E}" sibTransId="{BC63FAB5-38FB-40AC-B03C-16FB132D4C85}"/>
    <dgm:cxn modelId="{1F66351C-6300-7F43-8E55-26B4E9AA7350}" type="presOf" srcId="{5E339BE7-BFB1-453B-9CCB-5EDCEC0DEB32}" destId="{E7E95A7F-AD1D-A848-A585-6EF44AAAF4B1}" srcOrd="0" destOrd="0" presId="urn:microsoft.com/office/officeart/2005/8/layout/vList2"/>
    <dgm:cxn modelId="{3B264034-BD32-49D0-B078-661849C83F66}" srcId="{5E339BE7-BFB1-453B-9CCB-5EDCEC0DEB32}" destId="{B6C585FD-5A42-469A-B4BA-43B6D6B46782}" srcOrd="3" destOrd="0" parTransId="{02DA60B6-09F2-45C9-8C1A-B6A5FCFA38B2}" sibTransId="{C7FB7D38-5BDC-4CD1-B8A1-AB35D895C01F}"/>
    <dgm:cxn modelId="{287BF542-E25E-4EC3-9389-3522404504B2}" srcId="{5E339BE7-BFB1-453B-9CCB-5EDCEC0DEB32}" destId="{EC1C1151-7B49-4BFA-83FE-91E766B53130}" srcOrd="8" destOrd="0" parTransId="{AF067D0A-E434-442C-9CC9-DFA979B6E796}" sibTransId="{BFBD54F2-360B-4FFD-8926-F02321E36ED2}"/>
    <dgm:cxn modelId="{04621964-1DA4-DA4B-AA8F-44960B7C9F30}" type="presOf" srcId="{63E20A34-7221-4B22-A435-FBE6CD12AC26}" destId="{2804C64C-6DB3-8D40-9BA5-C6F7EBE7A7F7}" srcOrd="0" destOrd="0" presId="urn:microsoft.com/office/officeart/2005/8/layout/vList2"/>
    <dgm:cxn modelId="{EF115175-F27A-4AF1-B628-98B108BDEB1A}" srcId="{5E339BE7-BFB1-453B-9CCB-5EDCEC0DEB32}" destId="{DC4CCA21-1848-49A8-9001-A804BF52C4E0}" srcOrd="2" destOrd="0" parTransId="{99D6873F-2C09-49D5-A133-82260B761AF8}" sibTransId="{F5C9195A-744C-4D06-BCB4-62C1A50B2043}"/>
    <dgm:cxn modelId="{FD9C318E-E686-9340-ACED-554A58E2651E}" type="presOf" srcId="{9A035001-F673-4A2B-AF51-BA66099DFB3E}" destId="{7FA726E5-6132-B749-BA7B-B197398A150A}" srcOrd="0" destOrd="0" presId="urn:microsoft.com/office/officeart/2005/8/layout/vList2"/>
    <dgm:cxn modelId="{EEC72394-9FA0-4530-840B-2C69BCFEF194}" srcId="{5E339BE7-BFB1-453B-9CCB-5EDCEC0DEB32}" destId="{FBF501DA-686A-4A89-83AD-B9E2B763AA22}" srcOrd="1" destOrd="0" parTransId="{4DAE4E4B-A672-4BA6-9B83-1C253735859E}" sibTransId="{10CBBA01-D2A5-4DBF-805D-51DAD13ADBF6}"/>
    <dgm:cxn modelId="{7B66F994-FA34-4DD7-8FE9-3BC8B2E9046C}" srcId="{5E339BE7-BFB1-453B-9CCB-5EDCEC0DEB32}" destId="{87C31451-E85B-400D-93B8-8647D903CA48}" srcOrd="4" destOrd="0" parTransId="{02AA2F55-0E8D-4DC0-A535-5D91E62F9E9E}" sibTransId="{E53C55D1-8AEF-4389-9E0B-97826F7971EE}"/>
    <dgm:cxn modelId="{4A8E5B98-DABF-7F43-8199-C074916F0A43}" type="presOf" srcId="{FBF501DA-686A-4A89-83AD-B9E2B763AA22}" destId="{F997F273-0C2B-4447-A506-AC52EC2050B7}" srcOrd="0" destOrd="0" presId="urn:microsoft.com/office/officeart/2005/8/layout/vList2"/>
    <dgm:cxn modelId="{81D72799-F7A0-BA4A-928C-750C57250CFB}" type="presOf" srcId="{F1AE21B1-88C5-47C0-8506-12F7A0E7A22D}" destId="{52083D03-442F-D44A-8A39-B3E31C299A3E}" srcOrd="0" destOrd="0" presId="urn:microsoft.com/office/officeart/2005/8/layout/vList2"/>
    <dgm:cxn modelId="{3CBDC0A4-99B0-407D-B30A-85C6A905DDA6}" srcId="{5E339BE7-BFB1-453B-9CCB-5EDCEC0DEB32}" destId="{9A035001-F673-4A2B-AF51-BA66099DFB3E}" srcOrd="0" destOrd="0" parTransId="{C60A6F90-A6B5-4EF9-87CC-574863587EEA}" sibTransId="{D08F89B3-FAD7-446A-B11C-3410882F346B}"/>
    <dgm:cxn modelId="{5BC015A9-FF22-48F7-9363-A65B616CDFD8}" srcId="{5E339BE7-BFB1-453B-9CCB-5EDCEC0DEB32}" destId="{CCBD7B06-644D-4E3B-A075-C3C51B5AE894}" srcOrd="5" destOrd="0" parTransId="{93F8AD4E-25AE-402A-964A-2D41E896ABE1}" sibTransId="{9300A699-1897-4A41-955C-CD671252D3D5}"/>
    <dgm:cxn modelId="{40B366B1-8893-5A4D-9A9B-A9877E1B4C2C}" type="presOf" srcId="{B6C585FD-5A42-469A-B4BA-43B6D6B46782}" destId="{447F13FE-13A7-1947-839C-2C72A5CCEE0B}" srcOrd="0" destOrd="0" presId="urn:microsoft.com/office/officeart/2005/8/layout/vList2"/>
    <dgm:cxn modelId="{2C98E3B2-3671-2040-B271-8A87000DD52A}" type="presOf" srcId="{87C31451-E85B-400D-93B8-8647D903CA48}" destId="{47B04ED3-FB8D-E04F-A8F8-C5B754F2CD67}" srcOrd="0" destOrd="0" presId="urn:microsoft.com/office/officeart/2005/8/layout/vList2"/>
    <dgm:cxn modelId="{73D6E4D3-858E-9749-AB74-11619B055916}" type="presOf" srcId="{DC4CCA21-1848-49A8-9001-A804BF52C4E0}" destId="{A738D4ED-DB88-E34E-B84B-FF4E55FE7CD0}" srcOrd="0" destOrd="0" presId="urn:microsoft.com/office/officeart/2005/8/layout/vList2"/>
    <dgm:cxn modelId="{8E9BF9FD-820C-3C49-966C-82B91644EA4E}" type="presOf" srcId="{CCBD7B06-644D-4E3B-A075-C3C51B5AE894}" destId="{AC2C7A0A-C726-304F-9077-83E009AE1727}" srcOrd="0" destOrd="0" presId="urn:microsoft.com/office/officeart/2005/8/layout/vList2"/>
    <dgm:cxn modelId="{A8F6F636-B10E-B24C-AB7A-93371B1312CD}" type="presParOf" srcId="{E7E95A7F-AD1D-A848-A585-6EF44AAAF4B1}" destId="{7FA726E5-6132-B749-BA7B-B197398A150A}" srcOrd="0" destOrd="0" presId="urn:microsoft.com/office/officeart/2005/8/layout/vList2"/>
    <dgm:cxn modelId="{63133F3C-E207-B444-9F5B-8A0A9850A799}" type="presParOf" srcId="{E7E95A7F-AD1D-A848-A585-6EF44AAAF4B1}" destId="{1DB6A067-CF11-9F4E-A1CF-561CA6448073}" srcOrd="1" destOrd="0" presId="urn:microsoft.com/office/officeart/2005/8/layout/vList2"/>
    <dgm:cxn modelId="{7EDFB1B5-5748-DD43-8672-1E806A166D30}" type="presParOf" srcId="{E7E95A7F-AD1D-A848-A585-6EF44AAAF4B1}" destId="{F997F273-0C2B-4447-A506-AC52EC2050B7}" srcOrd="2" destOrd="0" presId="urn:microsoft.com/office/officeart/2005/8/layout/vList2"/>
    <dgm:cxn modelId="{D52431B4-1055-CB4C-AB73-E3CA79C670F4}" type="presParOf" srcId="{E7E95A7F-AD1D-A848-A585-6EF44AAAF4B1}" destId="{ED6B4A4F-91B1-ED43-9DAF-93D42A8AEF6F}" srcOrd="3" destOrd="0" presId="urn:microsoft.com/office/officeart/2005/8/layout/vList2"/>
    <dgm:cxn modelId="{C1CA89C3-164F-2949-B46B-300ED81AB2A2}" type="presParOf" srcId="{E7E95A7F-AD1D-A848-A585-6EF44AAAF4B1}" destId="{A738D4ED-DB88-E34E-B84B-FF4E55FE7CD0}" srcOrd="4" destOrd="0" presId="urn:microsoft.com/office/officeart/2005/8/layout/vList2"/>
    <dgm:cxn modelId="{38D06E0F-5373-E14F-A91C-2FE11F7F3E6B}" type="presParOf" srcId="{E7E95A7F-AD1D-A848-A585-6EF44AAAF4B1}" destId="{8A813DC6-42A0-EF41-80CF-1A38DCD022CE}" srcOrd="5" destOrd="0" presId="urn:microsoft.com/office/officeart/2005/8/layout/vList2"/>
    <dgm:cxn modelId="{FDF5D5A5-A007-EC47-BC73-F00BB1D31E0E}" type="presParOf" srcId="{E7E95A7F-AD1D-A848-A585-6EF44AAAF4B1}" destId="{447F13FE-13A7-1947-839C-2C72A5CCEE0B}" srcOrd="6" destOrd="0" presId="urn:microsoft.com/office/officeart/2005/8/layout/vList2"/>
    <dgm:cxn modelId="{662B70D3-21D9-C249-920F-7D58871B011E}" type="presParOf" srcId="{E7E95A7F-AD1D-A848-A585-6EF44AAAF4B1}" destId="{FBDEA37B-FAD1-C04E-8AA1-308E047C7DB4}" srcOrd="7" destOrd="0" presId="urn:microsoft.com/office/officeart/2005/8/layout/vList2"/>
    <dgm:cxn modelId="{452F3B38-50A2-4743-BD15-982FD31E01C1}" type="presParOf" srcId="{E7E95A7F-AD1D-A848-A585-6EF44AAAF4B1}" destId="{47B04ED3-FB8D-E04F-A8F8-C5B754F2CD67}" srcOrd="8" destOrd="0" presId="urn:microsoft.com/office/officeart/2005/8/layout/vList2"/>
    <dgm:cxn modelId="{B32EA0B1-CD95-7249-827D-E32A98A3A9CE}" type="presParOf" srcId="{E7E95A7F-AD1D-A848-A585-6EF44AAAF4B1}" destId="{13DA8E18-9426-6B41-961C-773D5B121AA8}" srcOrd="9" destOrd="0" presId="urn:microsoft.com/office/officeart/2005/8/layout/vList2"/>
    <dgm:cxn modelId="{BCC4B188-20B2-7748-AA15-AD70514A6F7F}" type="presParOf" srcId="{E7E95A7F-AD1D-A848-A585-6EF44AAAF4B1}" destId="{AC2C7A0A-C726-304F-9077-83E009AE1727}" srcOrd="10" destOrd="0" presId="urn:microsoft.com/office/officeart/2005/8/layout/vList2"/>
    <dgm:cxn modelId="{B8A9175B-7C7D-9544-8A36-334BB8B38231}" type="presParOf" srcId="{E7E95A7F-AD1D-A848-A585-6EF44AAAF4B1}" destId="{A98C2CCE-BC78-054E-92EB-E0430A666C72}" srcOrd="11" destOrd="0" presId="urn:microsoft.com/office/officeart/2005/8/layout/vList2"/>
    <dgm:cxn modelId="{0BBD5FF9-5837-F14C-B1AA-60F048A8CEF5}" type="presParOf" srcId="{E7E95A7F-AD1D-A848-A585-6EF44AAAF4B1}" destId="{52083D03-442F-D44A-8A39-B3E31C299A3E}" srcOrd="12" destOrd="0" presId="urn:microsoft.com/office/officeart/2005/8/layout/vList2"/>
    <dgm:cxn modelId="{00EA6302-585F-C14F-BDBC-2EC6D913399F}" type="presParOf" srcId="{E7E95A7F-AD1D-A848-A585-6EF44AAAF4B1}" destId="{75F9B036-F3DF-024E-BFFD-1F0950BD4C16}" srcOrd="13" destOrd="0" presId="urn:microsoft.com/office/officeart/2005/8/layout/vList2"/>
    <dgm:cxn modelId="{02A4BD42-D997-094D-9D94-ECD300A74E1F}" type="presParOf" srcId="{E7E95A7F-AD1D-A848-A585-6EF44AAAF4B1}" destId="{2804C64C-6DB3-8D40-9BA5-C6F7EBE7A7F7}" srcOrd="14" destOrd="0" presId="urn:microsoft.com/office/officeart/2005/8/layout/vList2"/>
    <dgm:cxn modelId="{7A711C98-22DB-4C48-9B87-B7C53D9BDBCB}" type="presParOf" srcId="{E7E95A7F-AD1D-A848-A585-6EF44AAAF4B1}" destId="{C4629639-A2CD-0D40-B860-5BF83A612858}" srcOrd="15" destOrd="0" presId="urn:microsoft.com/office/officeart/2005/8/layout/vList2"/>
    <dgm:cxn modelId="{622C695B-4287-8D4A-B648-8A366F645FD4}" type="presParOf" srcId="{E7E95A7F-AD1D-A848-A585-6EF44AAAF4B1}" destId="{DC526079-F875-7C47-B9A9-E93DFEEA99D6}" srcOrd="1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14C3BEA-FED8-4F47-9B0D-2E662E006FA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2D735A4-5F3D-4C1A-8C97-139D1322689C}">
      <dgm:prSet/>
      <dgm:spPr/>
      <dgm:t>
        <a:bodyPr/>
        <a:lstStyle/>
        <a:p>
          <a:r>
            <a:rPr lang="en-US"/>
            <a:t>SIGNIFICANT RISK OF SYSTEMIC SIDE EFFECTS</a:t>
          </a:r>
        </a:p>
      </dgm:t>
    </dgm:pt>
    <dgm:pt modelId="{CD73EFCF-98CE-4C53-8EF9-A99221CBB3FA}" type="parTrans" cxnId="{941F8D78-F0DB-41FD-B0D9-F8380007C869}">
      <dgm:prSet/>
      <dgm:spPr/>
      <dgm:t>
        <a:bodyPr/>
        <a:lstStyle/>
        <a:p>
          <a:endParaRPr lang="en-US"/>
        </a:p>
      </dgm:t>
    </dgm:pt>
    <dgm:pt modelId="{B0E3B57A-B5EE-4F18-8BD4-0BC0957EF94E}" type="sibTrans" cxnId="{941F8D78-F0DB-41FD-B0D9-F8380007C869}">
      <dgm:prSet/>
      <dgm:spPr/>
      <dgm:t>
        <a:bodyPr/>
        <a:lstStyle/>
        <a:p>
          <a:endParaRPr lang="en-US"/>
        </a:p>
      </dgm:t>
    </dgm:pt>
    <dgm:pt modelId="{A16657F6-79CD-404B-B4B9-8133472FFA7B}">
      <dgm:prSet/>
      <dgm:spPr/>
      <dgm:t>
        <a:bodyPr/>
        <a:lstStyle/>
        <a:p>
          <a:r>
            <a:rPr lang="en-US"/>
            <a:t>CNS – MOST COMMON</a:t>
          </a:r>
        </a:p>
      </dgm:t>
    </dgm:pt>
    <dgm:pt modelId="{B39CBD64-4335-487B-8C31-B714B2107868}" type="parTrans" cxnId="{D56A1232-E0FE-4816-9189-820F6D055C3F}">
      <dgm:prSet/>
      <dgm:spPr/>
      <dgm:t>
        <a:bodyPr/>
        <a:lstStyle/>
        <a:p>
          <a:endParaRPr lang="en-US"/>
        </a:p>
      </dgm:t>
    </dgm:pt>
    <dgm:pt modelId="{CBFF6D42-F97E-40BA-826D-DC8809C45A29}" type="sibTrans" cxnId="{D56A1232-E0FE-4816-9189-820F6D055C3F}">
      <dgm:prSet/>
      <dgm:spPr/>
      <dgm:t>
        <a:bodyPr/>
        <a:lstStyle/>
        <a:p>
          <a:endParaRPr lang="en-US"/>
        </a:p>
      </dgm:t>
    </dgm:pt>
    <dgm:pt modelId="{6B796431-72E2-418F-AD2D-390450CAA1A8}">
      <dgm:prSet/>
      <dgm:spPr/>
      <dgm:t>
        <a:bodyPr/>
        <a:lstStyle/>
        <a:p>
          <a:r>
            <a:rPr lang="en-US"/>
            <a:t>HEADACHES</a:t>
          </a:r>
        </a:p>
      </dgm:t>
    </dgm:pt>
    <dgm:pt modelId="{DB08F705-A3C2-4730-9CA7-9F3BFD0137B2}" type="parTrans" cxnId="{0D7E26F9-2999-42CA-9EE2-C64376CFAA5A}">
      <dgm:prSet/>
      <dgm:spPr/>
      <dgm:t>
        <a:bodyPr/>
        <a:lstStyle/>
        <a:p>
          <a:endParaRPr lang="en-US"/>
        </a:p>
      </dgm:t>
    </dgm:pt>
    <dgm:pt modelId="{46DE621C-C73E-49C1-842F-77AE96B00F02}" type="sibTrans" cxnId="{0D7E26F9-2999-42CA-9EE2-C64376CFAA5A}">
      <dgm:prSet/>
      <dgm:spPr/>
      <dgm:t>
        <a:bodyPr/>
        <a:lstStyle/>
        <a:p>
          <a:endParaRPr lang="en-US"/>
        </a:p>
      </dgm:t>
    </dgm:pt>
    <dgm:pt modelId="{5F6EFAC9-9C50-4B0E-A70A-A284F76446CD}">
      <dgm:prSet/>
      <dgm:spPr/>
      <dgm:t>
        <a:bodyPr/>
        <a:lstStyle/>
        <a:p>
          <a:r>
            <a:rPr lang="en-US"/>
            <a:t>DEPRESSION</a:t>
          </a:r>
        </a:p>
      </dgm:t>
    </dgm:pt>
    <dgm:pt modelId="{F930AC17-DB42-4274-BFA6-794548E8F00E}" type="parTrans" cxnId="{EFAEADCC-BAFC-484D-AC69-0162AF876ABD}">
      <dgm:prSet/>
      <dgm:spPr/>
      <dgm:t>
        <a:bodyPr/>
        <a:lstStyle/>
        <a:p>
          <a:endParaRPr lang="en-US"/>
        </a:p>
      </dgm:t>
    </dgm:pt>
    <dgm:pt modelId="{4AA45077-54FC-4F51-B26A-15953CB8419E}" type="sibTrans" cxnId="{EFAEADCC-BAFC-484D-AC69-0162AF876ABD}">
      <dgm:prSet/>
      <dgm:spPr/>
      <dgm:t>
        <a:bodyPr/>
        <a:lstStyle/>
        <a:p>
          <a:endParaRPr lang="en-US"/>
        </a:p>
      </dgm:t>
    </dgm:pt>
    <dgm:pt modelId="{6C2D7FAB-2308-4761-A94C-E50C7D9E4760}">
      <dgm:prSet/>
      <dgm:spPr/>
      <dgm:t>
        <a:bodyPr/>
        <a:lstStyle/>
        <a:p>
          <a:r>
            <a:rPr lang="en-US"/>
            <a:t>WEAKNESS</a:t>
          </a:r>
        </a:p>
      </dgm:t>
    </dgm:pt>
    <dgm:pt modelId="{E7DEDB7E-CB13-4D87-A183-9B2B48E406DA}" type="parTrans" cxnId="{D96FEDCE-83BE-4006-9A24-724D4FF09AEF}">
      <dgm:prSet/>
      <dgm:spPr/>
      <dgm:t>
        <a:bodyPr/>
        <a:lstStyle/>
        <a:p>
          <a:endParaRPr lang="en-US"/>
        </a:p>
      </dgm:t>
    </dgm:pt>
    <dgm:pt modelId="{C1B49EE3-CCE7-47DF-A79A-6C7E8364FD86}" type="sibTrans" cxnId="{D96FEDCE-83BE-4006-9A24-724D4FF09AEF}">
      <dgm:prSet/>
      <dgm:spPr/>
      <dgm:t>
        <a:bodyPr/>
        <a:lstStyle/>
        <a:p>
          <a:endParaRPr lang="en-US"/>
        </a:p>
      </dgm:t>
    </dgm:pt>
    <dgm:pt modelId="{ACEA08D9-807C-440D-83BF-F7EAE79E36F2}">
      <dgm:prSet/>
      <dgm:spPr/>
      <dgm:t>
        <a:bodyPr/>
        <a:lstStyle/>
        <a:p>
          <a:r>
            <a:rPr lang="en-US"/>
            <a:t>CARDIOVASCULAR (SECOND MOST COMMON)</a:t>
          </a:r>
        </a:p>
      </dgm:t>
    </dgm:pt>
    <dgm:pt modelId="{474AE888-C600-4060-9499-ADDCAD2C624E}" type="parTrans" cxnId="{D6655548-603E-4F80-9C2C-39486AC8679D}">
      <dgm:prSet/>
      <dgm:spPr/>
      <dgm:t>
        <a:bodyPr/>
        <a:lstStyle/>
        <a:p>
          <a:endParaRPr lang="en-US"/>
        </a:p>
      </dgm:t>
    </dgm:pt>
    <dgm:pt modelId="{0F8A8111-EB86-4962-8B9A-B8659C0EFECF}" type="sibTrans" cxnId="{D6655548-603E-4F80-9C2C-39486AC8679D}">
      <dgm:prSet/>
      <dgm:spPr/>
      <dgm:t>
        <a:bodyPr/>
        <a:lstStyle/>
        <a:p>
          <a:endParaRPr lang="en-US"/>
        </a:p>
      </dgm:t>
    </dgm:pt>
    <dgm:pt modelId="{49D91E07-55B8-4218-ACBA-8B78404B1D73}">
      <dgm:prSet/>
      <dgm:spPr/>
      <dgm:t>
        <a:bodyPr/>
        <a:lstStyle/>
        <a:p>
          <a:r>
            <a:rPr lang="en-US"/>
            <a:t>BRADYCARDIA</a:t>
          </a:r>
        </a:p>
      </dgm:t>
    </dgm:pt>
    <dgm:pt modelId="{70C414A3-55BC-4FA4-A90E-6B0AC177DC2C}" type="parTrans" cxnId="{00CD4E85-1CD1-4BD8-B588-1F6D4C6C28A9}">
      <dgm:prSet/>
      <dgm:spPr/>
      <dgm:t>
        <a:bodyPr/>
        <a:lstStyle/>
        <a:p>
          <a:endParaRPr lang="en-US"/>
        </a:p>
      </dgm:t>
    </dgm:pt>
    <dgm:pt modelId="{9ECD5BED-0C7E-4C41-B994-5B54DBB4B93D}" type="sibTrans" cxnId="{00CD4E85-1CD1-4BD8-B588-1F6D4C6C28A9}">
      <dgm:prSet/>
      <dgm:spPr/>
      <dgm:t>
        <a:bodyPr/>
        <a:lstStyle/>
        <a:p>
          <a:endParaRPr lang="en-US"/>
        </a:p>
      </dgm:t>
    </dgm:pt>
    <dgm:pt modelId="{B4BC02DB-E993-4DC3-BE4E-AA3153B6A692}">
      <dgm:prSet/>
      <dgm:spPr/>
      <dgm:t>
        <a:bodyPr/>
        <a:lstStyle/>
        <a:p>
          <a:r>
            <a:rPr lang="en-US"/>
            <a:t>HYPOTENSION</a:t>
          </a:r>
        </a:p>
      </dgm:t>
    </dgm:pt>
    <dgm:pt modelId="{B0067F04-B481-4284-9CD7-FB17F04A501A}" type="parTrans" cxnId="{90DCF198-D17F-4254-8D47-A69C85855080}">
      <dgm:prSet/>
      <dgm:spPr/>
      <dgm:t>
        <a:bodyPr/>
        <a:lstStyle/>
        <a:p>
          <a:endParaRPr lang="en-US"/>
        </a:p>
      </dgm:t>
    </dgm:pt>
    <dgm:pt modelId="{3BB59FBE-35FD-43F0-9CBA-AEE7FB8E73AE}" type="sibTrans" cxnId="{90DCF198-D17F-4254-8D47-A69C85855080}">
      <dgm:prSet/>
      <dgm:spPr/>
      <dgm:t>
        <a:bodyPr/>
        <a:lstStyle/>
        <a:p>
          <a:endParaRPr lang="en-US"/>
        </a:p>
      </dgm:t>
    </dgm:pt>
    <dgm:pt modelId="{F9A4F548-A2D0-4810-BC8F-D6AA3CE68F81}">
      <dgm:prSet/>
      <dgm:spPr/>
      <dgm:t>
        <a:bodyPr/>
        <a:lstStyle/>
        <a:p>
          <a:r>
            <a:rPr lang="en-US"/>
            <a:t>SYNCOPE</a:t>
          </a:r>
        </a:p>
      </dgm:t>
    </dgm:pt>
    <dgm:pt modelId="{611DA15E-A30D-4E8A-B9EC-422712A940DC}" type="parTrans" cxnId="{64DCB31F-64C3-4200-82EA-EE9CBB1AC8E6}">
      <dgm:prSet/>
      <dgm:spPr/>
      <dgm:t>
        <a:bodyPr/>
        <a:lstStyle/>
        <a:p>
          <a:endParaRPr lang="en-US"/>
        </a:p>
      </dgm:t>
    </dgm:pt>
    <dgm:pt modelId="{46EF9C51-3EF6-4B93-856C-7458F54A5EF1}" type="sibTrans" cxnId="{64DCB31F-64C3-4200-82EA-EE9CBB1AC8E6}">
      <dgm:prSet/>
      <dgm:spPr/>
      <dgm:t>
        <a:bodyPr/>
        <a:lstStyle/>
        <a:p>
          <a:endParaRPr lang="en-US"/>
        </a:p>
      </dgm:t>
    </dgm:pt>
    <dgm:pt modelId="{A18721DF-D4D2-524A-905D-8082B8AA280F}" type="pres">
      <dgm:prSet presAssocID="{D14C3BEA-FED8-4F47-9B0D-2E662E006FA7}" presName="Name0" presStyleCnt="0">
        <dgm:presLayoutVars>
          <dgm:dir/>
          <dgm:animLvl val="lvl"/>
          <dgm:resizeHandles val="exact"/>
        </dgm:presLayoutVars>
      </dgm:prSet>
      <dgm:spPr/>
    </dgm:pt>
    <dgm:pt modelId="{00CA32D1-507E-6045-A190-31140507D694}" type="pres">
      <dgm:prSet presAssocID="{F2D735A4-5F3D-4C1A-8C97-139D1322689C}" presName="composite" presStyleCnt="0"/>
      <dgm:spPr/>
    </dgm:pt>
    <dgm:pt modelId="{72EFB8D3-B167-ED46-AB74-9CF245270493}" type="pres">
      <dgm:prSet presAssocID="{F2D735A4-5F3D-4C1A-8C97-139D1322689C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3978761D-6CC8-E644-B95C-79851991B1AE}" type="pres">
      <dgm:prSet presAssocID="{F2D735A4-5F3D-4C1A-8C97-139D1322689C}" presName="desTx" presStyleLbl="alignAccFollowNode1" presStyleIdx="0" presStyleCnt="3">
        <dgm:presLayoutVars>
          <dgm:bulletEnabled val="1"/>
        </dgm:presLayoutVars>
      </dgm:prSet>
      <dgm:spPr/>
    </dgm:pt>
    <dgm:pt modelId="{7674487B-7572-1941-BEDC-8FE88F6972AB}" type="pres">
      <dgm:prSet presAssocID="{B0E3B57A-B5EE-4F18-8BD4-0BC0957EF94E}" presName="space" presStyleCnt="0"/>
      <dgm:spPr/>
    </dgm:pt>
    <dgm:pt modelId="{364977C0-371B-2D45-9B75-2BA238B9AA2A}" type="pres">
      <dgm:prSet presAssocID="{A16657F6-79CD-404B-B4B9-8133472FFA7B}" presName="composite" presStyleCnt="0"/>
      <dgm:spPr/>
    </dgm:pt>
    <dgm:pt modelId="{CBED3896-399A-AD41-8981-EFD93A04F8E5}" type="pres">
      <dgm:prSet presAssocID="{A16657F6-79CD-404B-B4B9-8133472FFA7B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08F2DB74-1B5E-F145-AC79-7447A3B7DF25}" type="pres">
      <dgm:prSet presAssocID="{A16657F6-79CD-404B-B4B9-8133472FFA7B}" presName="desTx" presStyleLbl="alignAccFollowNode1" presStyleIdx="1" presStyleCnt="3">
        <dgm:presLayoutVars>
          <dgm:bulletEnabled val="1"/>
        </dgm:presLayoutVars>
      </dgm:prSet>
      <dgm:spPr/>
    </dgm:pt>
    <dgm:pt modelId="{3224EF71-14CB-2E49-B8F4-76D655F35D0E}" type="pres">
      <dgm:prSet presAssocID="{CBFF6D42-F97E-40BA-826D-DC8809C45A29}" presName="space" presStyleCnt="0"/>
      <dgm:spPr/>
    </dgm:pt>
    <dgm:pt modelId="{B0AE4F92-C3D8-F64E-9576-DA1A87141EFB}" type="pres">
      <dgm:prSet presAssocID="{ACEA08D9-807C-440D-83BF-F7EAE79E36F2}" presName="composite" presStyleCnt="0"/>
      <dgm:spPr/>
    </dgm:pt>
    <dgm:pt modelId="{AECB7FA2-04B2-0D4F-9246-6E2D2F05CBA4}" type="pres">
      <dgm:prSet presAssocID="{ACEA08D9-807C-440D-83BF-F7EAE79E36F2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2B32D8E-F930-1448-A4BF-92A3CA7DC817}" type="pres">
      <dgm:prSet presAssocID="{ACEA08D9-807C-440D-83BF-F7EAE79E36F2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64DCB31F-64C3-4200-82EA-EE9CBB1AC8E6}" srcId="{ACEA08D9-807C-440D-83BF-F7EAE79E36F2}" destId="{F9A4F548-A2D0-4810-BC8F-D6AA3CE68F81}" srcOrd="2" destOrd="0" parTransId="{611DA15E-A30D-4E8A-B9EC-422712A940DC}" sibTransId="{46EF9C51-3EF6-4B93-856C-7458F54A5EF1}"/>
    <dgm:cxn modelId="{8CDCE02F-3038-E443-BF9E-B8790EC15041}" type="presOf" srcId="{B4BC02DB-E993-4DC3-BE4E-AA3153B6A692}" destId="{22B32D8E-F930-1448-A4BF-92A3CA7DC817}" srcOrd="0" destOrd="1" presId="urn:microsoft.com/office/officeart/2005/8/layout/hList1"/>
    <dgm:cxn modelId="{D56A1232-E0FE-4816-9189-820F6D055C3F}" srcId="{D14C3BEA-FED8-4F47-9B0D-2E662E006FA7}" destId="{A16657F6-79CD-404B-B4B9-8133472FFA7B}" srcOrd="1" destOrd="0" parTransId="{B39CBD64-4335-487B-8C31-B714B2107868}" sibTransId="{CBFF6D42-F97E-40BA-826D-DC8809C45A29}"/>
    <dgm:cxn modelId="{9D68C93B-195B-C04A-A91F-0D97FEA356A0}" type="presOf" srcId="{6C2D7FAB-2308-4761-A94C-E50C7D9E4760}" destId="{08F2DB74-1B5E-F145-AC79-7447A3B7DF25}" srcOrd="0" destOrd="2" presId="urn:microsoft.com/office/officeart/2005/8/layout/hList1"/>
    <dgm:cxn modelId="{E61C013D-0B39-D34F-8860-B22C062A24B8}" type="presOf" srcId="{6B796431-72E2-418F-AD2D-390450CAA1A8}" destId="{08F2DB74-1B5E-F145-AC79-7447A3B7DF25}" srcOrd="0" destOrd="0" presId="urn:microsoft.com/office/officeart/2005/8/layout/hList1"/>
    <dgm:cxn modelId="{D6655548-603E-4F80-9C2C-39486AC8679D}" srcId="{D14C3BEA-FED8-4F47-9B0D-2E662E006FA7}" destId="{ACEA08D9-807C-440D-83BF-F7EAE79E36F2}" srcOrd="2" destOrd="0" parTransId="{474AE888-C600-4060-9499-ADDCAD2C624E}" sibTransId="{0F8A8111-EB86-4962-8B9A-B8659C0EFECF}"/>
    <dgm:cxn modelId="{9C3F166E-E156-144C-82EB-866AA0929861}" type="presOf" srcId="{D14C3BEA-FED8-4F47-9B0D-2E662E006FA7}" destId="{A18721DF-D4D2-524A-905D-8082B8AA280F}" srcOrd="0" destOrd="0" presId="urn:microsoft.com/office/officeart/2005/8/layout/hList1"/>
    <dgm:cxn modelId="{941F8D78-F0DB-41FD-B0D9-F8380007C869}" srcId="{D14C3BEA-FED8-4F47-9B0D-2E662E006FA7}" destId="{F2D735A4-5F3D-4C1A-8C97-139D1322689C}" srcOrd="0" destOrd="0" parTransId="{CD73EFCF-98CE-4C53-8EF9-A99221CBB3FA}" sibTransId="{B0E3B57A-B5EE-4F18-8BD4-0BC0957EF94E}"/>
    <dgm:cxn modelId="{00CD4E85-1CD1-4BD8-B588-1F6D4C6C28A9}" srcId="{ACEA08D9-807C-440D-83BF-F7EAE79E36F2}" destId="{49D91E07-55B8-4218-ACBA-8B78404B1D73}" srcOrd="0" destOrd="0" parTransId="{70C414A3-55BC-4FA4-A90E-6B0AC177DC2C}" sibTransId="{9ECD5BED-0C7E-4C41-B994-5B54DBB4B93D}"/>
    <dgm:cxn modelId="{156F6A87-2831-F446-82F0-194529D1344F}" type="presOf" srcId="{F2D735A4-5F3D-4C1A-8C97-139D1322689C}" destId="{72EFB8D3-B167-ED46-AB74-9CF245270493}" srcOrd="0" destOrd="0" presId="urn:microsoft.com/office/officeart/2005/8/layout/hList1"/>
    <dgm:cxn modelId="{69EC0793-E9EE-684E-BDFA-12986D235B78}" type="presOf" srcId="{49D91E07-55B8-4218-ACBA-8B78404B1D73}" destId="{22B32D8E-F930-1448-A4BF-92A3CA7DC817}" srcOrd="0" destOrd="0" presId="urn:microsoft.com/office/officeart/2005/8/layout/hList1"/>
    <dgm:cxn modelId="{90DCF198-D17F-4254-8D47-A69C85855080}" srcId="{ACEA08D9-807C-440D-83BF-F7EAE79E36F2}" destId="{B4BC02DB-E993-4DC3-BE4E-AA3153B6A692}" srcOrd="1" destOrd="0" parTransId="{B0067F04-B481-4284-9CD7-FB17F04A501A}" sibTransId="{3BB59FBE-35FD-43F0-9CBA-AEE7FB8E73AE}"/>
    <dgm:cxn modelId="{F3DC6199-1A2C-1B4F-84F1-1C640CB1CB0D}" type="presOf" srcId="{F9A4F548-A2D0-4810-BC8F-D6AA3CE68F81}" destId="{22B32D8E-F930-1448-A4BF-92A3CA7DC817}" srcOrd="0" destOrd="2" presId="urn:microsoft.com/office/officeart/2005/8/layout/hList1"/>
    <dgm:cxn modelId="{81EB74A7-3998-D642-B80D-223B3D8981D7}" type="presOf" srcId="{ACEA08D9-807C-440D-83BF-F7EAE79E36F2}" destId="{AECB7FA2-04B2-0D4F-9246-6E2D2F05CBA4}" srcOrd="0" destOrd="0" presId="urn:microsoft.com/office/officeart/2005/8/layout/hList1"/>
    <dgm:cxn modelId="{9371D1B9-8FE0-A046-8126-D53288E73270}" type="presOf" srcId="{A16657F6-79CD-404B-B4B9-8133472FFA7B}" destId="{CBED3896-399A-AD41-8981-EFD93A04F8E5}" srcOrd="0" destOrd="0" presId="urn:microsoft.com/office/officeart/2005/8/layout/hList1"/>
    <dgm:cxn modelId="{EFAEADCC-BAFC-484D-AC69-0162AF876ABD}" srcId="{A16657F6-79CD-404B-B4B9-8133472FFA7B}" destId="{5F6EFAC9-9C50-4B0E-A70A-A284F76446CD}" srcOrd="1" destOrd="0" parTransId="{F930AC17-DB42-4274-BFA6-794548E8F00E}" sibTransId="{4AA45077-54FC-4F51-B26A-15953CB8419E}"/>
    <dgm:cxn modelId="{D96FEDCE-83BE-4006-9A24-724D4FF09AEF}" srcId="{A16657F6-79CD-404B-B4B9-8133472FFA7B}" destId="{6C2D7FAB-2308-4761-A94C-E50C7D9E4760}" srcOrd="2" destOrd="0" parTransId="{E7DEDB7E-CB13-4D87-A183-9B2B48E406DA}" sibTransId="{C1B49EE3-CCE7-47DF-A79A-6C7E8364FD86}"/>
    <dgm:cxn modelId="{152283ED-455E-1946-A3AF-EAD9EFBA4167}" type="presOf" srcId="{5F6EFAC9-9C50-4B0E-A70A-A284F76446CD}" destId="{08F2DB74-1B5E-F145-AC79-7447A3B7DF25}" srcOrd="0" destOrd="1" presId="urn:microsoft.com/office/officeart/2005/8/layout/hList1"/>
    <dgm:cxn modelId="{0D7E26F9-2999-42CA-9EE2-C64376CFAA5A}" srcId="{A16657F6-79CD-404B-B4B9-8133472FFA7B}" destId="{6B796431-72E2-418F-AD2D-390450CAA1A8}" srcOrd="0" destOrd="0" parTransId="{DB08F705-A3C2-4730-9CA7-9F3BFD0137B2}" sibTransId="{46DE621C-C73E-49C1-842F-77AE96B00F02}"/>
    <dgm:cxn modelId="{2D09596C-354E-2945-97E8-3DC3FA643E78}" type="presParOf" srcId="{A18721DF-D4D2-524A-905D-8082B8AA280F}" destId="{00CA32D1-507E-6045-A190-31140507D694}" srcOrd="0" destOrd="0" presId="urn:microsoft.com/office/officeart/2005/8/layout/hList1"/>
    <dgm:cxn modelId="{EC3C66D1-77BE-AA43-86F5-501EE37CF373}" type="presParOf" srcId="{00CA32D1-507E-6045-A190-31140507D694}" destId="{72EFB8D3-B167-ED46-AB74-9CF245270493}" srcOrd="0" destOrd="0" presId="urn:microsoft.com/office/officeart/2005/8/layout/hList1"/>
    <dgm:cxn modelId="{E615202D-83FF-7943-9CAB-65B6E49FC6B1}" type="presParOf" srcId="{00CA32D1-507E-6045-A190-31140507D694}" destId="{3978761D-6CC8-E644-B95C-79851991B1AE}" srcOrd="1" destOrd="0" presId="urn:microsoft.com/office/officeart/2005/8/layout/hList1"/>
    <dgm:cxn modelId="{1BE01E87-6292-9D46-851B-DF6014CF0C1B}" type="presParOf" srcId="{A18721DF-D4D2-524A-905D-8082B8AA280F}" destId="{7674487B-7572-1941-BEDC-8FE88F6972AB}" srcOrd="1" destOrd="0" presId="urn:microsoft.com/office/officeart/2005/8/layout/hList1"/>
    <dgm:cxn modelId="{94057F7A-2F49-E041-89B6-BF577C4A27AB}" type="presParOf" srcId="{A18721DF-D4D2-524A-905D-8082B8AA280F}" destId="{364977C0-371B-2D45-9B75-2BA238B9AA2A}" srcOrd="2" destOrd="0" presId="urn:microsoft.com/office/officeart/2005/8/layout/hList1"/>
    <dgm:cxn modelId="{91EC47EA-853C-5E42-AB0B-294597FBEFA1}" type="presParOf" srcId="{364977C0-371B-2D45-9B75-2BA238B9AA2A}" destId="{CBED3896-399A-AD41-8981-EFD93A04F8E5}" srcOrd="0" destOrd="0" presId="urn:microsoft.com/office/officeart/2005/8/layout/hList1"/>
    <dgm:cxn modelId="{BC6CFC50-564F-AC46-A609-54C69CE9917D}" type="presParOf" srcId="{364977C0-371B-2D45-9B75-2BA238B9AA2A}" destId="{08F2DB74-1B5E-F145-AC79-7447A3B7DF25}" srcOrd="1" destOrd="0" presId="urn:microsoft.com/office/officeart/2005/8/layout/hList1"/>
    <dgm:cxn modelId="{EC796F02-4013-DD47-A9DC-79323511032E}" type="presParOf" srcId="{A18721DF-D4D2-524A-905D-8082B8AA280F}" destId="{3224EF71-14CB-2E49-B8F4-76D655F35D0E}" srcOrd="3" destOrd="0" presId="urn:microsoft.com/office/officeart/2005/8/layout/hList1"/>
    <dgm:cxn modelId="{948A9601-109B-6A47-B322-6002E9772F03}" type="presParOf" srcId="{A18721DF-D4D2-524A-905D-8082B8AA280F}" destId="{B0AE4F92-C3D8-F64E-9576-DA1A87141EFB}" srcOrd="4" destOrd="0" presId="urn:microsoft.com/office/officeart/2005/8/layout/hList1"/>
    <dgm:cxn modelId="{CF9C9EE0-CDDC-4642-8306-5F5175DDE968}" type="presParOf" srcId="{B0AE4F92-C3D8-F64E-9576-DA1A87141EFB}" destId="{AECB7FA2-04B2-0D4F-9246-6E2D2F05CBA4}" srcOrd="0" destOrd="0" presId="urn:microsoft.com/office/officeart/2005/8/layout/hList1"/>
    <dgm:cxn modelId="{52017168-CBC6-F843-B247-7D1F117D84CC}" type="presParOf" srcId="{B0AE4F92-C3D8-F64E-9576-DA1A87141EFB}" destId="{22B32D8E-F930-1448-A4BF-92A3CA7DC81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2BECAA4-3DAC-4476-85AA-4442BF3843B9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337CFDC-D480-430E-AD79-058E469FBBF1}">
      <dgm:prSet/>
      <dgm:spPr/>
      <dgm:t>
        <a:bodyPr/>
        <a:lstStyle/>
        <a:p>
          <a:r>
            <a:rPr lang="en-US"/>
            <a:t>FIRST TOPICAL BIOLOGIC MEDICATION</a:t>
          </a:r>
        </a:p>
      </dgm:t>
    </dgm:pt>
    <dgm:pt modelId="{0B703C6E-0B82-4E27-BAB4-4C9C67A29B5C}" type="parTrans" cxnId="{379F01DB-DAED-45A4-ABD5-5CA95C772446}">
      <dgm:prSet/>
      <dgm:spPr/>
      <dgm:t>
        <a:bodyPr/>
        <a:lstStyle/>
        <a:p>
          <a:endParaRPr lang="en-US"/>
        </a:p>
      </dgm:t>
    </dgm:pt>
    <dgm:pt modelId="{35E64172-479A-4537-9E6C-D0F8B2E048DC}" type="sibTrans" cxnId="{379F01DB-DAED-45A4-ABD5-5CA95C772446}">
      <dgm:prSet/>
      <dgm:spPr/>
      <dgm:t>
        <a:bodyPr/>
        <a:lstStyle/>
        <a:p>
          <a:endParaRPr lang="en-US"/>
        </a:p>
      </dgm:t>
    </dgm:pt>
    <dgm:pt modelId="{17BCAB73-6A2D-4A21-A529-2537B417AFC8}">
      <dgm:prSet/>
      <dgm:spPr/>
      <dgm:t>
        <a:bodyPr/>
        <a:lstStyle/>
        <a:p>
          <a:r>
            <a:rPr lang="en-US"/>
            <a:t>HUMAN NERVE GROWTH FACTOR</a:t>
          </a:r>
        </a:p>
      </dgm:t>
    </dgm:pt>
    <dgm:pt modelId="{E845C5CD-A753-4228-809A-97544BE05E4B}" type="parTrans" cxnId="{257BA763-2B6A-42C1-9F5A-5B2768B761E7}">
      <dgm:prSet/>
      <dgm:spPr/>
      <dgm:t>
        <a:bodyPr/>
        <a:lstStyle/>
        <a:p>
          <a:endParaRPr lang="en-US"/>
        </a:p>
      </dgm:t>
    </dgm:pt>
    <dgm:pt modelId="{076FB337-65AF-4971-97C9-36273490BF73}" type="sibTrans" cxnId="{257BA763-2B6A-42C1-9F5A-5B2768B761E7}">
      <dgm:prSet/>
      <dgm:spPr/>
      <dgm:t>
        <a:bodyPr/>
        <a:lstStyle/>
        <a:p>
          <a:endParaRPr lang="en-US"/>
        </a:p>
      </dgm:t>
    </dgm:pt>
    <dgm:pt modelId="{8BA4323A-7AE5-45AE-B29C-A35E9C0BE473}">
      <dgm:prSet/>
      <dgm:spPr/>
      <dgm:t>
        <a:bodyPr/>
        <a:lstStyle/>
        <a:p>
          <a:r>
            <a:rPr lang="en-US"/>
            <a:t>POTENTIAL TO COMPLETELY HEAL NEUROTROPHIC KERATITIS</a:t>
          </a:r>
        </a:p>
      </dgm:t>
    </dgm:pt>
    <dgm:pt modelId="{68410748-4427-40E3-9EDA-DB390653E351}" type="parTrans" cxnId="{D9966035-498D-4935-B782-6060AE28FC55}">
      <dgm:prSet/>
      <dgm:spPr/>
      <dgm:t>
        <a:bodyPr/>
        <a:lstStyle/>
        <a:p>
          <a:endParaRPr lang="en-US"/>
        </a:p>
      </dgm:t>
    </dgm:pt>
    <dgm:pt modelId="{2CB761A0-77D4-499F-8A6C-208B98618D82}" type="sibTrans" cxnId="{D9966035-498D-4935-B782-6060AE28FC55}">
      <dgm:prSet/>
      <dgm:spPr/>
      <dgm:t>
        <a:bodyPr/>
        <a:lstStyle/>
        <a:p>
          <a:endParaRPr lang="en-US"/>
        </a:p>
      </dgm:t>
    </dgm:pt>
    <dgm:pt modelId="{F1BD0969-4180-4C22-A30F-3B78910EA825}">
      <dgm:prSet/>
      <dgm:spPr/>
      <dgm:t>
        <a:bodyPr/>
        <a:lstStyle/>
        <a:p>
          <a:r>
            <a:rPr lang="en-US"/>
            <a:t>Q2H X 8 WEEKS</a:t>
          </a:r>
        </a:p>
      </dgm:t>
    </dgm:pt>
    <dgm:pt modelId="{1C9C41CD-6BB3-487D-99A0-78E4E9D13BF0}" type="parTrans" cxnId="{80FA04BC-BF11-477D-9748-C2486F13F891}">
      <dgm:prSet/>
      <dgm:spPr/>
      <dgm:t>
        <a:bodyPr/>
        <a:lstStyle/>
        <a:p>
          <a:endParaRPr lang="en-US"/>
        </a:p>
      </dgm:t>
    </dgm:pt>
    <dgm:pt modelId="{65946E1A-85FE-4E97-A776-83BF2B257132}" type="sibTrans" cxnId="{80FA04BC-BF11-477D-9748-C2486F13F891}">
      <dgm:prSet/>
      <dgm:spPr/>
      <dgm:t>
        <a:bodyPr/>
        <a:lstStyle/>
        <a:p>
          <a:endParaRPr lang="en-US"/>
        </a:p>
      </dgm:t>
    </dgm:pt>
    <dgm:pt modelId="{24915012-DFD6-1C40-A83D-501614D0E6D1}" type="pres">
      <dgm:prSet presAssocID="{32BECAA4-3DAC-4476-85AA-4442BF3843B9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F6739FE-1639-1748-9FF8-556522B22187}" type="pres">
      <dgm:prSet presAssocID="{3337CFDC-D480-430E-AD79-058E469FBBF1}" presName="hierRoot1" presStyleCnt="0"/>
      <dgm:spPr/>
    </dgm:pt>
    <dgm:pt modelId="{754C878B-1F4B-5140-974E-1FECE36D48FE}" type="pres">
      <dgm:prSet presAssocID="{3337CFDC-D480-430E-AD79-058E469FBBF1}" presName="composite" presStyleCnt="0"/>
      <dgm:spPr/>
    </dgm:pt>
    <dgm:pt modelId="{2CEF449F-EC0F-DF40-B6BA-7DF3CA9CF712}" type="pres">
      <dgm:prSet presAssocID="{3337CFDC-D480-430E-AD79-058E469FBBF1}" presName="background" presStyleLbl="node0" presStyleIdx="0" presStyleCnt="4"/>
      <dgm:spPr/>
    </dgm:pt>
    <dgm:pt modelId="{4F2B691B-1B38-9846-94B1-EA78BA44E34E}" type="pres">
      <dgm:prSet presAssocID="{3337CFDC-D480-430E-AD79-058E469FBBF1}" presName="text" presStyleLbl="fgAcc0" presStyleIdx="0" presStyleCnt="4">
        <dgm:presLayoutVars>
          <dgm:chPref val="3"/>
        </dgm:presLayoutVars>
      </dgm:prSet>
      <dgm:spPr/>
    </dgm:pt>
    <dgm:pt modelId="{0DB12C63-B176-C848-B59C-A389A8DCA787}" type="pres">
      <dgm:prSet presAssocID="{3337CFDC-D480-430E-AD79-058E469FBBF1}" presName="hierChild2" presStyleCnt="0"/>
      <dgm:spPr/>
    </dgm:pt>
    <dgm:pt modelId="{6566A610-72D5-364A-810E-6F6E1A3D89E7}" type="pres">
      <dgm:prSet presAssocID="{17BCAB73-6A2D-4A21-A529-2537B417AFC8}" presName="hierRoot1" presStyleCnt="0"/>
      <dgm:spPr/>
    </dgm:pt>
    <dgm:pt modelId="{627D44B2-33AF-1349-8669-BCAE690359E0}" type="pres">
      <dgm:prSet presAssocID="{17BCAB73-6A2D-4A21-A529-2537B417AFC8}" presName="composite" presStyleCnt="0"/>
      <dgm:spPr/>
    </dgm:pt>
    <dgm:pt modelId="{97EE7C03-F382-354E-B3AA-86C6E68159BA}" type="pres">
      <dgm:prSet presAssocID="{17BCAB73-6A2D-4A21-A529-2537B417AFC8}" presName="background" presStyleLbl="node0" presStyleIdx="1" presStyleCnt="4"/>
      <dgm:spPr/>
    </dgm:pt>
    <dgm:pt modelId="{F1CEDFEE-B36B-BF4E-8017-6E7549AF2401}" type="pres">
      <dgm:prSet presAssocID="{17BCAB73-6A2D-4A21-A529-2537B417AFC8}" presName="text" presStyleLbl="fgAcc0" presStyleIdx="1" presStyleCnt="4">
        <dgm:presLayoutVars>
          <dgm:chPref val="3"/>
        </dgm:presLayoutVars>
      </dgm:prSet>
      <dgm:spPr/>
    </dgm:pt>
    <dgm:pt modelId="{8A0B3C68-F9A2-074A-AB1D-23AF5F5D1994}" type="pres">
      <dgm:prSet presAssocID="{17BCAB73-6A2D-4A21-A529-2537B417AFC8}" presName="hierChild2" presStyleCnt="0"/>
      <dgm:spPr/>
    </dgm:pt>
    <dgm:pt modelId="{662BA236-3399-C949-A20E-564D7F5B6BDB}" type="pres">
      <dgm:prSet presAssocID="{8BA4323A-7AE5-45AE-B29C-A35E9C0BE473}" presName="hierRoot1" presStyleCnt="0"/>
      <dgm:spPr/>
    </dgm:pt>
    <dgm:pt modelId="{5286C2F4-F6B7-4443-A711-B57F6111B467}" type="pres">
      <dgm:prSet presAssocID="{8BA4323A-7AE5-45AE-B29C-A35E9C0BE473}" presName="composite" presStyleCnt="0"/>
      <dgm:spPr/>
    </dgm:pt>
    <dgm:pt modelId="{962CEEBB-ACCA-3F49-838D-959709C842EF}" type="pres">
      <dgm:prSet presAssocID="{8BA4323A-7AE5-45AE-B29C-A35E9C0BE473}" presName="background" presStyleLbl="node0" presStyleIdx="2" presStyleCnt="4"/>
      <dgm:spPr/>
    </dgm:pt>
    <dgm:pt modelId="{31DEBA16-D2F3-F24D-8FBD-67D0DD423006}" type="pres">
      <dgm:prSet presAssocID="{8BA4323A-7AE5-45AE-B29C-A35E9C0BE473}" presName="text" presStyleLbl="fgAcc0" presStyleIdx="2" presStyleCnt="4">
        <dgm:presLayoutVars>
          <dgm:chPref val="3"/>
        </dgm:presLayoutVars>
      </dgm:prSet>
      <dgm:spPr/>
    </dgm:pt>
    <dgm:pt modelId="{54F870FC-7C22-6B40-97EE-B9F604F50739}" type="pres">
      <dgm:prSet presAssocID="{8BA4323A-7AE5-45AE-B29C-A35E9C0BE473}" presName="hierChild2" presStyleCnt="0"/>
      <dgm:spPr/>
    </dgm:pt>
    <dgm:pt modelId="{DABC9C02-86BF-C241-BBDB-41C3BB33F31D}" type="pres">
      <dgm:prSet presAssocID="{F1BD0969-4180-4C22-A30F-3B78910EA825}" presName="hierRoot1" presStyleCnt="0"/>
      <dgm:spPr/>
    </dgm:pt>
    <dgm:pt modelId="{8B1BF3AD-8B42-954F-ACA9-2CA35220354C}" type="pres">
      <dgm:prSet presAssocID="{F1BD0969-4180-4C22-A30F-3B78910EA825}" presName="composite" presStyleCnt="0"/>
      <dgm:spPr/>
    </dgm:pt>
    <dgm:pt modelId="{170A8238-1D38-C64A-AA8A-CB9E9B20ABBB}" type="pres">
      <dgm:prSet presAssocID="{F1BD0969-4180-4C22-A30F-3B78910EA825}" presName="background" presStyleLbl="node0" presStyleIdx="3" presStyleCnt="4"/>
      <dgm:spPr/>
    </dgm:pt>
    <dgm:pt modelId="{600FE7A0-A728-224E-8322-7600629160B2}" type="pres">
      <dgm:prSet presAssocID="{F1BD0969-4180-4C22-A30F-3B78910EA825}" presName="text" presStyleLbl="fgAcc0" presStyleIdx="3" presStyleCnt="4">
        <dgm:presLayoutVars>
          <dgm:chPref val="3"/>
        </dgm:presLayoutVars>
      </dgm:prSet>
      <dgm:spPr/>
    </dgm:pt>
    <dgm:pt modelId="{42CD61A1-1ED1-B94E-A6FA-8681E1D87079}" type="pres">
      <dgm:prSet presAssocID="{F1BD0969-4180-4C22-A30F-3B78910EA825}" presName="hierChild2" presStyleCnt="0"/>
      <dgm:spPr/>
    </dgm:pt>
  </dgm:ptLst>
  <dgm:cxnLst>
    <dgm:cxn modelId="{D9966035-498D-4935-B782-6060AE28FC55}" srcId="{32BECAA4-3DAC-4476-85AA-4442BF3843B9}" destId="{8BA4323A-7AE5-45AE-B29C-A35E9C0BE473}" srcOrd="2" destOrd="0" parTransId="{68410748-4427-40E3-9EDA-DB390653E351}" sibTransId="{2CB761A0-77D4-499F-8A6C-208B98618D82}"/>
    <dgm:cxn modelId="{048C7250-044D-BC41-999B-7DC8DC84A574}" type="presOf" srcId="{8BA4323A-7AE5-45AE-B29C-A35E9C0BE473}" destId="{31DEBA16-D2F3-F24D-8FBD-67D0DD423006}" srcOrd="0" destOrd="0" presId="urn:microsoft.com/office/officeart/2005/8/layout/hierarchy1"/>
    <dgm:cxn modelId="{257BA763-2B6A-42C1-9F5A-5B2768B761E7}" srcId="{32BECAA4-3DAC-4476-85AA-4442BF3843B9}" destId="{17BCAB73-6A2D-4A21-A529-2537B417AFC8}" srcOrd="1" destOrd="0" parTransId="{E845C5CD-A753-4228-809A-97544BE05E4B}" sibTransId="{076FB337-65AF-4971-97C9-36273490BF73}"/>
    <dgm:cxn modelId="{6C16EF74-81E6-3042-B778-86FA899EB5CA}" type="presOf" srcId="{32BECAA4-3DAC-4476-85AA-4442BF3843B9}" destId="{24915012-DFD6-1C40-A83D-501614D0E6D1}" srcOrd="0" destOrd="0" presId="urn:microsoft.com/office/officeart/2005/8/layout/hierarchy1"/>
    <dgm:cxn modelId="{A4DCA68C-8915-8946-BA0A-74C06C20ABF0}" type="presOf" srcId="{3337CFDC-D480-430E-AD79-058E469FBBF1}" destId="{4F2B691B-1B38-9846-94B1-EA78BA44E34E}" srcOrd="0" destOrd="0" presId="urn:microsoft.com/office/officeart/2005/8/layout/hierarchy1"/>
    <dgm:cxn modelId="{68C205A9-BB61-6242-B631-C9ADEF5F59E8}" type="presOf" srcId="{17BCAB73-6A2D-4A21-A529-2537B417AFC8}" destId="{F1CEDFEE-B36B-BF4E-8017-6E7549AF2401}" srcOrd="0" destOrd="0" presId="urn:microsoft.com/office/officeart/2005/8/layout/hierarchy1"/>
    <dgm:cxn modelId="{80FA04BC-BF11-477D-9748-C2486F13F891}" srcId="{32BECAA4-3DAC-4476-85AA-4442BF3843B9}" destId="{F1BD0969-4180-4C22-A30F-3B78910EA825}" srcOrd="3" destOrd="0" parTransId="{1C9C41CD-6BB3-487D-99A0-78E4E9D13BF0}" sibTransId="{65946E1A-85FE-4E97-A776-83BF2B257132}"/>
    <dgm:cxn modelId="{F97894C7-67F2-674C-A863-16038E504A12}" type="presOf" srcId="{F1BD0969-4180-4C22-A30F-3B78910EA825}" destId="{600FE7A0-A728-224E-8322-7600629160B2}" srcOrd="0" destOrd="0" presId="urn:microsoft.com/office/officeart/2005/8/layout/hierarchy1"/>
    <dgm:cxn modelId="{379F01DB-DAED-45A4-ABD5-5CA95C772446}" srcId="{32BECAA4-3DAC-4476-85AA-4442BF3843B9}" destId="{3337CFDC-D480-430E-AD79-058E469FBBF1}" srcOrd="0" destOrd="0" parTransId="{0B703C6E-0B82-4E27-BAB4-4C9C67A29B5C}" sibTransId="{35E64172-479A-4537-9E6C-D0F8B2E048DC}"/>
    <dgm:cxn modelId="{0881EEB7-B008-3149-B30E-971BBE6A1C3B}" type="presParOf" srcId="{24915012-DFD6-1C40-A83D-501614D0E6D1}" destId="{0F6739FE-1639-1748-9FF8-556522B22187}" srcOrd="0" destOrd="0" presId="urn:microsoft.com/office/officeart/2005/8/layout/hierarchy1"/>
    <dgm:cxn modelId="{453656AE-9D2D-E24A-B102-41E1F722839F}" type="presParOf" srcId="{0F6739FE-1639-1748-9FF8-556522B22187}" destId="{754C878B-1F4B-5140-974E-1FECE36D48FE}" srcOrd="0" destOrd="0" presId="urn:microsoft.com/office/officeart/2005/8/layout/hierarchy1"/>
    <dgm:cxn modelId="{484069C2-6C30-3443-BDC7-DF79D93B5860}" type="presParOf" srcId="{754C878B-1F4B-5140-974E-1FECE36D48FE}" destId="{2CEF449F-EC0F-DF40-B6BA-7DF3CA9CF712}" srcOrd="0" destOrd="0" presId="urn:microsoft.com/office/officeart/2005/8/layout/hierarchy1"/>
    <dgm:cxn modelId="{AC2EFA23-40AB-9E45-8567-FC8D08E0D1C4}" type="presParOf" srcId="{754C878B-1F4B-5140-974E-1FECE36D48FE}" destId="{4F2B691B-1B38-9846-94B1-EA78BA44E34E}" srcOrd="1" destOrd="0" presId="urn:microsoft.com/office/officeart/2005/8/layout/hierarchy1"/>
    <dgm:cxn modelId="{D266003F-CF21-0140-A741-9191323A541B}" type="presParOf" srcId="{0F6739FE-1639-1748-9FF8-556522B22187}" destId="{0DB12C63-B176-C848-B59C-A389A8DCA787}" srcOrd="1" destOrd="0" presId="urn:microsoft.com/office/officeart/2005/8/layout/hierarchy1"/>
    <dgm:cxn modelId="{AD209688-82D1-FF45-B7B7-98F0DABF04E5}" type="presParOf" srcId="{24915012-DFD6-1C40-A83D-501614D0E6D1}" destId="{6566A610-72D5-364A-810E-6F6E1A3D89E7}" srcOrd="1" destOrd="0" presId="urn:microsoft.com/office/officeart/2005/8/layout/hierarchy1"/>
    <dgm:cxn modelId="{6D7A24C6-59FA-2A49-9AD0-DAA7C37F121D}" type="presParOf" srcId="{6566A610-72D5-364A-810E-6F6E1A3D89E7}" destId="{627D44B2-33AF-1349-8669-BCAE690359E0}" srcOrd="0" destOrd="0" presId="urn:microsoft.com/office/officeart/2005/8/layout/hierarchy1"/>
    <dgm:cxn modelId="{988997E3-2829-C840-BD84-F56C4D4AD92A}" type="presParOf" srcId="{627D44B2-33AF-1349-8669-BCAE690359E0}" destId="{97EE7C03-F382-354E-B3AA-86C6E68159BA}" srcOrd="0" destOrd="0" presId="urn:microsoft.com/office/officeart/2005/8/layout/hierarchy1"/>
    <dgm:cxn modelId="{13F7BC26-7014-E448-8E05-E45A5613FFC9}" type="presParOf" srcId="{627D44B2-33AF-1349-8669-BCAE690359E0}" destId="{F1CEDFEE-B36B-BF4E-8017-6E7549AF2401}" srcOrd="1" destOrd="0" presId="urn:microsoft.com/office/officeart/2005/8/layout/hierarchy1"/>
    <dgm:cxn modelId="{7F4D4CDE-38DD-694C-9823-99334B875B60}" type="presParOf" srcId="{6566A610-72D5-364A-810E-6F6E1A3D89E7}" destId="{8A0B3C68-F9A2-074A-AB1D-23AF5F5D1994}" srcOrd="1" destOrd="0" presId="urn:microsoft.com/office/officeart/2005/8/layout/hierarchy1"/>
    <dgm:cxn modelId="{E29D9675-1906-B04F-A38B-370D4E6973E6}" type="presParOf" srcId="{24915012-DFD6-1C40-A83D-501614D0E6D1}" destId="{662BA236-3399-C949-A20E-564D7F5B6BDB}" srcOrd="2" destOrd="0" presId="urn:microsoft.com/office/officeart/2005/8/layout/hierarchy1"/>
    <dgm:cxn modelId="{9CC6779B-D3FA-F94E-B1FB-AF6ABC03009F}" type="presParOf" srcId="{662BA236-3399-C949-A20E-564D7F5B6BDB}" destId="{5286C2F4-F6B7-4443-A711-B57F6111B467}" srcOrd="0" destOrd="0" presId="urn:microsoft.com/office/officeart/2005/8/layout/hierarchy1"/>
    <dgm:cxn modelId="{F1F32CB7-FAF1-924C-87C9-428175D52ACA}" type="presParOf" srcId="{5286C2F4-F6B7-4443-A711-B57F6111B467}" destId="{962CEEBB-ACCA-3F49-838D-959709C842EF}" srcOrd="0" destOrd="0" presId="urn:microsoft.com/office/officeart/2005/8/layout/hierarchy1"/>
    <dgm:cxn modelId="{B0ED9919-9894-0048-ADCB-AE4EDC7D7E33}" type="presParOf" srcId="{5286C2F4-F6B7-4443-A711-B57F6111B467}" destId="{31DEBA16-D2F3-F24D-8FBD-67D0DD423006}" srcOrd="1" destOrd="0" presId="urn:microsoft.com/office/officeart/2005/8/layout/hierarchy1"/>
    <dgm:cxn modelId="{42069382-70F7-F84C-B307-E5E513E61271}" type="presParOf" srcId="{662BA236-3399-C949-A20E-564D7F5B6BDB}" destId="{54F870FC-7C22-6B40-97EE-B9F604F50739}" srcOrd="1" destOrd="0" presId="urn:microsoft.com/office/officeart/2005/8/layout/hierarchy1"/>
    <dgm:cxn modelId="{F454C757-10ED-EF43-BCAB-7A41D9803E3F}" type="presParOf" srcId="{24915012-DFD6-1C40-A83D-501614D0E6D1}" destId="{DABC9C02-86BF-C241-BBDB-41C3BB33F31D}" srcOrd="3" destOrd="0" presId="urn:microsoft.com/office/officeart/2005/8/layout/hierarchy1"/>
    <dgm:cxn modelId="{9AC64126-9285-BE4B-BDD8-5F726A3B0B4B}" type="presParOf" srcId="{DABC9C02-86BF-C241-BBDB-41C3BB33F31D}" destId="{8B1BF3AD-8B42-954F-ACA9-2CA35220354C}" srcOrd="0" destOrd="0" presId="urn:microsoft.com/office/officeart/2005/8/layout/hierarchy1"/>
    <dgm:cxn modelId="{3ED4970B-88B0-C448-BA1F-ED4CECA84066}" type="presParOf" srcId="{8B1BF3AD-8B42-954F-ACA9-2CA35220354C}" destId="{170A8238-1D38-C64A-AA8A-CB9E9B20ABBB}" srcOrd="0" destOrd="0" presId="urn:microsoft.com/office/officeart/2005/8/layout/hierarchy1"/>
    <dgm:cxn modelId="{CD257518-E465-9A42-B31E-094D432FC4E1}" type="presParOf" srcId="{8B1BF3AD-8B42-954F-ACA9-2CA35220354C}" destId="{600FE7A0-A728-224E-8322-7600629160B2}" srcOrd="1" destOrd="0" presId="urn:microsoft.com/office/officeart/2005/8/layout/hierarchy1"/>
    <dgm:cxn modelId="{7A683A68-5000-7449-B9FF-2AF6C9F41F65}" type="presParOf" srcId="{DABC9C02-86BF-C241-BBDB-41C3BB33F31D}" destId="{42CD61A1-1ED1-B94E-A6FA-8681E1D87079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192DE3D-5EF3-403F-B4C5-0324BC08B502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345B146D-4929-40DD-8F89-96290E55D569}">
      <dgm:prSet/>
      <dgm:spPr/>
      <dgm:t>
        <a:bodyPr/>
        <a:lstStyle/>
        <a:p>
          <a:r>
            <a:rPr lang="en-US"/>
            <a:t>MIOSIS</a:t>
          </a:r>
        </a:p>
      </dgm:t>
    </dgm:pt>
    <dgm:pt modelId="{1F5125B6-23FE-4A88-BA5F-CCBE0DA40448}" type="parTrans" cxnId="{AD9CFF09-0674-44D8-BB75-0B5AA4D2454A}">
      <dgm:prSet/>
      <dgm:spPr/>
      <dgm:t>
        <a:bodyPr/>
        <a:lstStyle/>
        <a:p>
          <a:endParaRPr lang="en-US"/>
        </a:p>
      </dgm:t>
    </dgm:pt>
    <dgm:pt modelId="{02B8D963-90AB-4FD3-BFD8-D2EB9ADBF1F0}" type="sibTrans" cxnId="{AD9CFF09-0674-44D8-BB75-0B5AA4D2454A}">
      <dgm:prSet/>
      <dgm:spPr/>
      <dgm:t>
        <a:bodyPr/>
        <a:lstStyle/>
        <a:p>
          <a:endParaRPr lang="en-US"/>
        </a:p>
      </dgm:t>
    </dgm:pt>
    <dgm:pt modelId="{03FE1E65-B082-4595-9232-A9EB65436F3B}">
      <dgm:prSet/>
      <dgm:spPr/>
      <dgm:t>
        <a:bodyPr/>
        <a:lstStyle/>
        <a:p>
          <a:r>
            <a:rPr lang="en-US"/>
            <a:t>ACCOMMODATION</a:t>
          </a:r>
        </a:p>
      </dgm:t>
    </dgm:pt>
    <dgm:pt modelId="{D5B43420-D520-4540-85C4-8FAB6F86BE8C}" type="parTrans" cxnId="{67C5713B-37CC-47C6-BC3E-EEA91627A47B}">
      <dgm:prSet/>
      <dgm:spPr/>
      <dgm:t>
        <a:bodyPr/>
        <a:lstStyle/>
        <a:p>
          <a:endParaRPr lang="en-US"/>
        </a:p>
      </dgm:t>
    </dgm:pt>
    <dgm:pt modelId="{8853DBFF-0364-47EA-8178-E19E53583656}" type="sibTrans" cxnId="{67C5713B-37CC-47C6-BC3E-EEA91627A47B}">
      <dgm:prSet/>
      <dgm:spPr/>
      <dgm:t>
        <a:bodyPr/>
        <a:lstStyle/>
        <a:p>
          <a:endParaRPr lang="en-US"/>
        </a:p>
      </dgm:t>
    </dgm:pt>
    <dgm:pt modelId="{89DFB24A-BB98-4DEA-8B05-3760879984EE}">
      <dgm:prSet/>
      <dgm:spPr/>
      <dgm:t>
        <a:bodyPr/>
        <a:lstStyle/>
        <a:p>
          <a:r>
            <a:rPr lang="en-US"/>
            <a:t>DECREASED IOP</a:t>
          </a:r>
        </a:p>
      </dgm:t>
    </dgm:pt>
    <dgm:pt modelId="{31ABB3D3-F692-40AA-83B0-FD336BE10C94}" type="parTrans" cxnId="{728A9538-EDB7-4C47-B555-90FA4E779AA6}">
      <dgm:prSet/>
      <dgm:spPr/>
      <dgm:t>
        <a:bodyPr/>
        <a:lstStyle/>
        <a:p>
          <a:endParaRPr lang="en-US"/>
        </a:p>
      </dgm:t>
    </dgm:pt>
    <dgm:pt modelId="{39BB9441-3A6A-4E00-8BDC-50420076BE0A}" type="sibTrans" cxnId="{728A9538-EDB7-4C47-B555-90FA4E779AA6}">
      <dgm:prSet/>
      <dgm:spPr/>
      <dgm:t>
        <a:bodyPr/>
        <a:lstStyle/>
        <a:p>
          <a:endParaRPr lang="en-US"/>
        </a:p>
      </dgm:t>
    </dgm:pt>
    <dgm:pt modelId="{5F830B05-E3E3-4A2D-859F-410A91F2415D}">
      <dgm:prSet/>
      <dgm:spPr/>
      <dgm:t>
        <a:bodyPr/>
        <a:lstStyle/>
        <a:p>
          <a:r>
            <a:rPr lang="en-US"/>
            <a:t>ACETYLCHOLINE </a:t>
          </a:r>
        </a:p>
      </dgm:t>
    </dgm:pt>
    <dgm:pt modelId="{9D41D52F-4536-4A56-A72D-5846A1CBE7F5}" type="parTrans" cxnId="{E6D3BB8B-AC05-479E-B225-670068174CA2}">
      <dgm:prSet/>
      <dgm:spPr/>
      <dgm:t>
        <a:bodyPr/>
        <a:lstStyle/>
        <a:p>
          <a:endParaRPr lang="en-US"/>
        </a:p>
      </dgm:t>
    </dgm:pt>
    <dgm:pt modelId="{4BB1E3B8-B068-48BF-8E73-C8D4950B1837}" type="sibTrans" cxnId="{E6D3BB8B-AC05-479E-B225-670068174CA2}">
      <dgm:prSet/>
      <dgm:spPr/>
      <dgm:t>
        <a:bodyPr/>
        <a:lstStyle/>
        <a:p>
          <a:endParaRPr lang="en-US"/>
        </a:p>
      </dgm:t>
    </dgm:pt>
    <dgm:pt modelId="{2B78118C-8EE7-8A4D-A1F1-F5ADC3F0C626}" type="pres">
      <dgm:prSet presAssocID="{D192DE3D-5EF3-403F-B4C5-0324BC08B502}" presName="linear" presStyleCnt="0">
        <dgm:presLayoutVars>
          <dgm:animLvl val="lvl"/>
          <dgm:resizeHandles val="exact"/>
        </dgm:presLayoutVars>
      </dgm:prSet>
      <dgm:spPr/>
    </dgm:pt>
    <dgm:pt modelId="{B94D55A4-8720-A542-9C6E-6E3B00DE6584}" type="pres">
      <dgm:prSet presAssocID="{345B146D-4929-40DD-8F89-96290E55D56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DA0A511B-144A-6748-9A66-03DDDF06482F}" type="pres">
      <dgm:prSet presAssocID="{02B8D963-90AB-4FD3-BFD8-D2EB9ADBF1F0}" presName="spacer" presStyleCnt="0"/>
      <dgm:spPr/>
    </dgm:pt>
    <dgm:pt modelId="{7ADB2FF1-696D-5E47-9EC7-B6DA61F3AD76}" type="pres">
      <dgm:prSet presAssocID="{03FE1E65-B082-4595-9232-A9EB65436F3B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BE156D8C-E50F-7549-BC87-A072D8F5AB9F}" type="pres">
      <dgm:prSet presAssocID="{8853DBFF-0364-47EA-8178-E19E53583656}" presName="spacer" presStyleCnt="0"/>
      <dgm:spPr/>
    </dgm:pt>
    <dgm:pt modelId="{13009C71-759B-7947-980D-A5734675B1F8}" type="pres">
      <dgm:prSet presAssocID="{89DFB24A-BB98-4DEA-8B05-3760879984EE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6A9FEBF-668D-4B40-B5D2-8092FE4B1C0B}" type="pres">
      <dgm:prSet presAssocID="{39BB9441-3A6A-4E00-8BDC-50420076BE0A}" presName="spacer" presStyleCnt="0"/>
      <dgm:spPr/>
    </dgm:pt>
    <dgm:pt modelId="{482BB2AE-C765-3D4E-A5F5-58FA0CC7F759}" type="pres">
      <dgm:prSet presAssocID="{5F830B05-E3E3-4A2D-859F-410A91F2415D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D9CFF09-0674-44D8-BB75-0B5AA4D2454A}" srcId="{D192DE3D-5EF3-403F-B4C5-0324BC08B502}" destId="{345B146D-4929-40DD-8F89-96290E55D569}" srcOrd="0" destOrd="0" parTransId="{1F5125B6-23FE-4A88-BA5F-CCBE0DA40448}" sibTransId="{02B8D963-90AB-4FD3-BFD8-D2EB9ADBF1F0}"/>
    <dgm:cxn modelId="{F5AA9D28-8E27-304F-BEF5-50F1BD8CD239}" type="presOf" srcId="{5F830B05-E3E3-4A2D-859F-410A91F2415D}" destId="{482BB2AE-C765-3D4E-A5F5-58FA0CC7F759}" srcOrd="0" destOrd="0" presId="urn:microsoft.com/office/officeart/2005/8/layout/vList2"/>
    <dgm:cxn modelId="{728A9538-EDB7-4C47-B555-90FA4E779AA6}" srcId="{D192DE3D-5EF3-403F-B4C5-0324BC08B502}" destId="{89DFB24A-BB98-4DEA-8B05-3760879984EE}" srcOrd="2" destOrd="0" parTransId="{31ABB3D3-F692-40AA-83B0-FD336BE10C94}" sibTransId="{39BB9441-3A6A-4E00-8BDC-50420076BE0A}"/>
    <dgm:cxn modelId="{67C5713B-37CC-47C6-BC3E-EEA91627A47B}" srcId="{D192DE3D-5EF3-403F-B4C5-0324BC08B502}" destId="{03FE1E65-B082-4595-9232-A9EB65436F3B}" srcOrd="1" destOrd="0" parTransId="{D5B43420-D520-4540-85C4-8FAB6F86BE8C}" sibTransId="{8853DBFF-0364-47EA-8178-E19E53583656}"/>
    <dgm:cxn modelId="{A50F333D-5FE9-FD4A-B9AB-BE30B476B279}" type="presOf" srcId="{03FE1E65-B082-4595-9232-A9EB65436F3B}" destId="{7ADB2FF1-696D-5E47-9EC7-B6DA61F3AD76}" srcOrd="0" destOrd="0" presId="urn:microsoft.com/office/officeart/2005/8/layout/vList2"/>
    <dgm:cxn modelId="{987FFB48-30F3-9A4D-A4A2-6DEB614BC309}" type="presOf" srcId="{D192DE3D-5EF3-403F-B4C5-0324BC08B502}" destId="{2B78118C-8EE7-8A4D-A1F1-F5ADC3F0C626}" srcOrd="0" destOrd="0" presId="urn:microsoft.com/office/officeart/2005/8/layout/vList2"/>
    <dgm:cxn modelId="{E6D3BB8B-AC05-479E-B225-670068174CA2}" srcId="{D192DE3D-5EF3-403F-B4C5-0324BC08B502}" destId="{5F830B05-E3E3-4A2D-859F-410A91F2415D}" srcOrd="3" destOrd="0" parTransId="{9D41D52F-4536-4A56-A72D-5846A1CBE7F5}" sibTransId="{4BB1E3B8-B068-48BF-8E73-C8D4950B1837}"/>
    <dgm:cxn modelId="{B74FECBA-A15A-FD40-B38E-B0A1FB7175AA}" type="presOf" srcId="{345B146D-4929-40DD-8F89-96290E55D569}" destId="{B94D55A4-8720-A542-9C6E-6E3B00DE6584}" srcOrd="0" destOrd="0" presId="urn:microsoft.com/office/officeart/2005/8/layout/vList2"/>
    <dgm:cxn modelId="{C54D60E3-8585-104A-89C4-C7452FE5B227}" type="presOf" srcId="{89DFB24A-BB98-4DEA-8B05-3760879984EE}" destId="{13009C71-759B-7947-980D-A5734675B1F8}" srcOrd="0" destOrd="0" presId="urn:microsoft.com/office/officeart/2005/8/layout/vList2"/>
    <dgm:cxn modelId="{79000169-78E3-314C-85E4-18D431965D69}" type="presParOf" srcId="{2B78118C-8EE7-8A4D-A1F1-F5ADC3F0C626}" destId="{B94D55A4-8720-A542-9C6E-6E3B00DE6584}" srcOrd="0" destOrd="0" presId="urn:microsoft.com/office/officeart/2005/8/layout/vList2"/>
    <dgm:cxn modelId="{0F53B3E2-BD62-FD4E-93B0-79D5BF6CA3F1}" type="presParOf" srcId="{2B78118C-8EE7-8A4D-A1F1-F5ADC3F0C626}" destId="{DA0A511B-144A-6748-9A66-03DDDF06482F}" srcOrd="1" destOrd="0" presId="urn:microsoft.com/office/officeart/2005/8/layout/vList2"/>
    <dgm:cxn modelId="{A649A781-1703-664E-90B1-B05E855B1030}" type="presParOf" srcId="{2B78118C-8EE7-8A4D-A1F1-F5ADC3F0C626}" destId="{7ADB2FF1-696D-5E47-9EC7-B6DA61F3AD76}" srcOrd="2" destOrd="0" presId="urn:microsoft.com/office/officeart/2005/8/layout/vList2"/>
    <dgm:cxn modelId="{970F4494-B0A8-4B44-843C-68474A0771F8}" type="presParOf" srcId="{2B78118C-8EE7-8A4D-A1F1-F5ADC3F0C626}" destId="{BE156D8C-E50F-7549-BC87-A072D8F5AB9F}" srcOrd="3" destOrd="0" presId="urn:microsoft.com/office/officeart/2005/8/layout/vList2"/>
    <dgm:cxn modelId="{3029A1EB-7011-C04A-9D27-4CC48F58E65A}" type="presParOf" srcId="{2B78118C-8EE7-8A4D-A1F1-F5ADC3F0C626}" destId="{13009C71-759B-7947-980D-A5734675B1F8}" srcOrd="4" destOrd="0" presId="urn:microsoft.com/office/officeart/2005/8/layout/vList2"/>
    <dgm:cxn modelId="{C7E987F6-E573-264F-BC38-4662B6C9FD41}" type="presParOf" srcId="{2B78118C-8EE7-8A4D-A1F1-F5ADC3F0C626}" destId="{C6A9FEBF-668D-4B40-B5D2-8092FE4B1C0B}" srcOrd="5" destOrd="0" presId="urn:microsoft.com/office/officeart/2005/8/layout/vList2"/>
    <dgm:cxn modelId="{EACCCAFF-D46E-1041-BC31-6CE7B38FC797}" type="presParOf" srcId="{2B78118C-8EE7-8A4D-A1F1-F5ADC3F0C626}" destId="{482BB2AE-C765-3D4E-A5F5-58FA0CC7F75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BA4F2E3-1B84-4F95-90AC-A0A64086B884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2DD34053-F679-460A-BF79-413AF4CA73D4}">
      <dgm:prSet/>
      <dgm:spPr/>
      <dgm:t>
        <a:bodyPr/>
        <a:lstStyle/>
        <a:p>
          <a:r>
            <a:rPr lang="en-US"/>
            <a:t>ANGLE CLOSURE GLAUCOMA</a:t>
          </a:r>
        </a:p>
      </dgm:t>
    </dgm:pt>
    <dgm:pt modelId="{71BEC475-CFAA-447D-B57A-58AF219561A9}" type="parTrans" cxnId="{2B02F88A-E38E-4435-9DEF-4F91AD4E436F}">
      <dgm:prSet/>
      <dgm:spPr/>
      <dgm:t>
        <a:bodyPr/>
        <a:lstStyle/>
        <a:p>
          <a:endParaRPr lang="en-US"/>
        </a:p>
      </dgm:t>
    </dgm:pt>
    <dgm:pt modelId="{30448BFF-F041-46EF-872D-D0811B313068}" type="sibTrans" cxnId="{2B02F88A-E38E-4435-9DEF-4F91AD4E436F}">
      <dgm:prSet/>
      <dgm:spPr/>
      <dgm:t>
        <a:bodyPr/>
        <a:lstStyle/>
        <a:p>
          <a:endParaRPr lang="en-US"/>
        </a:p>
      </dgm:t>
    </dgm:pt>
    <dgm:pt modelId="{E777F1BE-8FAA-4E5E-BC98-E189A05A943A}">
      <dgm:prSet/>
      <dgm:spPr/>
      <dgm:t>
        <a:bodyPr/>
        <a:lstStyle/>
        <a:p>
          <a:r>
            <a:rPr lang="en-US"/>
            <a:t>ADIE’S TONIC PUPIL</a:t>
          </a:r>
        </a:p>
      </dgm:t>
    </dgm:pt>
    <dgm:pt modelId="{A1A55C4C-AD60-4E7B-8386-28C1A616284F}" type="parTrans" cxnId="{77861A2C-DDFB-4879-ABFC-D5210877BE26}">
      <dgm:prSet/>
      <dgm:spPr/>
      <dgm:t>
        <a:bodyPr/>
        <a:lstStyle/>
        <a:p>
          <a:endParaRPr lang="en-US"/>
        </a:p>
      </dgm:t>
    </dgm:pt>
    <dgm:pt modelId="{9303B9ED-3E40-438E-963B-C49402FCD0C3}" type="sibTrans" cxnId="{77861A2C-DDFB-4879-ABFC-D5210877BE26}">
      <dgm:prSet/>
      <dgm:spPr/>
      <dgm:t>
        <a:bodyPr/>
        <a:lstStyle/>
        <a:p>
          <a:endParaRPr lang="en-US"/>
        </a:p>
      </dgm:t>
    </dgm:pt>
    <dgm:pt modelId="{54C26AEB-69DC-437E-A0DD-99397CF07FB1}">
      <dgm:prSet/>
      <dgm:spPr/>
      <dgm:t>
        <a:bodyPr/>
        <a:lstStyle/>
        <a:p>
          <a:r>
            <a:rPr lang="en-US"/>
            <a:t>PRESBYOPIA MANAGEMENT</a:t>
          </a:r>
        </a:p>
      </dgm:t>
    </dgm:pt>
    <dgm:pt modelId="{C7D8FC1C-DEDE-4EA1-B5D2-C56F5649E2B0}" type="parTrans" cxnId="{817AD43F-E944-40BE-B690-C680E0A65F13}">
      <dgm:prSet/>
      <dgm:spPr/>
      <dgm:t>
        <a:bodyPr/>
        <a:lstStyle/>
        <a:p>
          <a:endParaRPr lang="en-US"/>
        </a:p>
      </dgm:t>
    </dgm:pt>
    <dgm:pt modelId="{997348B6-B43D-4C0B-A9B2-A5C634D34911}" type="sibTrans" cxnId="{817AD43F-E944-40BE-B690-C680E0A65F13}">
      <dgm:prSet/>
      <dgm:spPr/>
      <dgm:t>
        <a:bodyPr/>
        <a:lstStyle/>
        <a:p>
          <a:endParaRPr lang="en-US"/>
        </a:p>
      </dgm:t>
    </dgm:pt>
    <dgm:pt modelId="{50380C86-DFDF-2147-B34E-48220AB4E7D8}" type="pres">
      <dgm:prSet presAssocID="{3BA4F2E3-1B84-4F95-90AC-A0A64086B884}" presName="linear" presStyleCnt="0">
        <dgm:presLayoutVars>
          <dgm:animLvl val="lvl"/>
          <dgm:resizeHandles val="exact"/>
        </dgm:presLayoutVars>
      </dgm:prSet>
      <dgm:spPr/>
    </dgm:pt>
    <dgm:pt modelId="{EFB7894E-F877-A843-8075-151B2EA26333}" type="pres">
      <dgm:prSet presAssocID="{2DD34053-F679-460A-BF79-413AF4CA73D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B5EB6FF-9C7F-A24E-B1B3-D23CAB17EFB0}" type="pres">
      <dgm:prSet presAssocID="{30448BFF-F041-46EF-872D-D0811B313068}" presName="spacer" presStyleCnt="0"/>
      <dgm:spPr/>
    </dgm:pt>
    <dgm:pt modelId="{E55EC752-C760-A346-88F5-D635568E0A52}" type="pres">
      <dgm:prSet presAssocID="{E777F1BE-8FAA-4E5E-BC98-E189A05A943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BB47DD9-1E8A-E94A-B483-129997DA2E72}" type="pres">
      <dgm:prSet presAssocID="{9303B9ED-3E40-438E-963B-C49402FCD0C3}" presName="spacer" presStyleCnt="0"/>
      <dgm:spPr/>
    </dgm:pt>
    <dgm:pt modelId="{F1E9BAD0-E325-BE46-80C6-EFB165A37915}" type="pres">
      <dgm:prSet presAssocID="{54C26AEB-69DC-437E-A0DD-99397CF07FB1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77861A2C-DDFB-4879-ABFC-D5210877BE26}" srcId="{3BA4F2E3-1B84-4F95-90AC-A0A64086B884}" destId="{E777F1BE-8FAA-4E5E-BC98-E189A05A943A}" srcOrd="1" destOrd="0" parTransId="{A1A55C4C-AD60-4E7B-8386-28C1A616284F}" sibTransId="{9303B9ED-3E40-438E-963B-C49402FCD0C3}"/>
    <dgm:cxn modelId="{251B7A38-E42D-1947-AE92-9146F10CFF35}" type="presOf" srcId="{54C26AEB-69DC-437E-A0DD-99397CF07FB1}" destId="{F1E9BAD0-E325-BE46-80C6-EFB165A37915}" srcOrd="0" destOrd="0" presId="urn:microsoft.com/office/officeart/2005/8/layout/vList2"/>
    <dgm:cxn modelId="{817AD43F-E944-40BE-B690-C680E0A65F13}" srcId="{3BA4F2E3-1B84-4F95-90AC-A0A64086B884}" destId="{54C26AEB-69DC-437E-A0DD-99397CF07FB1}" srcOrd="2" destOrd="0" parTransId="{C7D8FC1C-DEDE-4EA1-B5D2-C56F5649E2B0}" sibTransId="{997348B6-B43D-4C0B-A9B2-A5C634D34911}"/>
    <dgm:cxn modelId="{8736C740-40CD-1D4A-8761-D53F54D7993F}" type="presOf" srcId="{E777F1BE-8FAA-4E5E-BC98-E189A05A943A}" destId="{E55EC752-C760-A346-88F5-D635568E0A52}" srcOrd="0" destOrd="0" presId="urn:microsoft.com/office/officeart/2005/8/layout/vList2"/>
    <dgm:cxn modelId="{910FB55D-C151-5948-BE95-FF64B7613367}" type="presOf" srcId="{3BA4F2E3-1B84-4F95-90AC-A0A64086B884}" destId="{50380C86-DFDF-2147-B34E-48220AB4E7D8}" srcOrd="0" destOrd="0" presId="urn:microsoft.com/office/officeart/2005/8/layout/vList2"/>
    <dgm:cxn modelId="{2B02F88A-E38E-4435-9DEF-4F91AD4E436F}" srcId="{3BA4F2E3-1B84-4F95-90AC-A0A64086B884}" destId="{2DD34053-F679-460A-BF79-413AF4CA73D4}" srcOrd="0" destOrd="0" parTransId="{71BEC475-CFAA-447D-B57A-58AF219561A9}" sibTransId="{30448BFF-F041-46EF-872D-D0811B313068}"/>
    <dgm:cxn modelId="{630D99E5-8BED-534D-A0A6-653439447049}" type="presOf" srcId="{2DD34053-F679-460A-BF79-413AF4CA73D4}" destId="{EFB7894E-F877-A843-8075-151B2EA26333}" srcOrd="0" destOrd="0" presId="urn:microsoft.com/office/officeart/2005/8/layout/vList2"/>
    <dgm:cxn modelId="{BA87DCC0-FD73-7648-A54C-B625D758C286}" type="presParOf" srcId="{50380C86-DFDF-2147-B34E-48220AB4E7D8}" destId="{EFB7894E-F877-A843-8075-151B2EA26333}" srcOrd="0" destOrd="0" presId="urn:microsoft.com/office/officeart/2005/8/layout/vList2"/>
    <dgm:cxn modelId="{75F1AB52-CFA1-7F4B-8231-FAC8DA9F2D63}" type="presParOf" srcId="{50380C86-DFDF-2147-B34E-48220AB4E7D8}" destId="{AB5EB6FF-9C7F-A24E-B1B3-D23CAB17EFB0}" srcOrd="1" destOrd="0" presId="urn:microsoft.com/office/officeart/2005/8/layout/vList2"/>
    <dgm:cxn modelId="{3E94641C-E14B-AA4F-8B4A-9622B5526625}" type="presParOf" srcId="{50380C86-DFDF-2147-B34E-48220AB4E7D8}" destId="{E55EC752-C760-A346-88F5-D635568E0A52}" srcOrd="2" destOrd="0" presId="urn:microsoft.com/office/officeart/2005/8/layout/vList2"/>
    <dgm:cxn modelId="{43A350B8-9C2E-7743-8D2F-EE110CE7739E}" type="presParOf" srcId="{50380C86-DFDF-2147-B34E-48220AB4E7D8}" destId="{1BB47DD9-1E8A-E94A-B483-129997DA2E72}" srcOrd="3" destOrd="0" presId="urn:microsoft.com/office/officeart/2005/8/layout/vList2"/>
    <dgm:cxn modelId="{7A087C1B-DF9F-C44D-BAB7-203EFE3DDD56}" type="presParOf" srcId="{50380C86-DFDF-2147-B34E-48220AB4E7D8}" destId="{F1E9BAD0-E325-BE46-80C6-EFB165A3791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F4EE596-C7D0-483F-9C37-A215529DAF37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5BCAC71-4F5B-4F17-9095-047F06D0772B}">
      <dgm:prSet/>
      <dgm:spPr/>
      <dgm:t>
        <a:bodyPr/>
        <a:lstStyle/>
        <a:p>
          <a:r>
            <a:rPr lang="en-US" dirty="0" err="1"/>
            <a:t>Vuity</a:t>
          </a:r>
          <a:r>
            <a:rPr lang="en-US" dirty="0"/>
            <a:t> is a cholinergic muscarinic agonist that stimulates muscarinic receptors in smooth muscles such as the iris sphincter and ciliary muscle</a:t>
          </a:r>
        </a:p>
      </dgm:t>
    </dgm:pt>
    <dgm:pt modelId="{7BBEBF14-F7C1-41EA-B3FD-9B01511B7592}" type="parTrans" cxnId="{7B619C05-1D04-42EF-8E1C-C086F98548C5}">
      <dgm:prSet/>
      <dgm:spPr/>
      <dgm:t>
        <a:bodyPr/>
        <a:lstStyle/>
        <a:p>
          <a:endParaRPr lang="en-US"/>
        </a:p>
      </dgm:t>
    </dgm:pt>
    <dgm:pt modelId="{9AAF032C-2FBE-458F-8B08-96B4892118AC}" type="sibTrans" cxnId="{7B619C05-1D04-42EF-8E1C-C086F98548C5}">
      <dgm:prSet/>
      <dgm:spPr/>
      <dgm:t>
        <a:bodyPr/>
        <a:lstStyle/>
        <a:p>
          <a:endParaRPr lang="en-US"/>
        </a:p>
      </dgm:t>
    </dgm:pt>
    <dgm:pt modelId="{82CFFB3C-30F0-40F1-A4A7-365E51B8AB19}">
      <dgm:prSet/>
      <dgm:spPr/>
      <dgm:t>
        <a:bodyPr/>
        <a:lstStyle/>
        <a:p>
          <a:r>
            <a:rPr lang="en-US"/>
            <a:t>The mechanism of action involves contraction of the iris sphincter muscle, which constricts the pupil to improve near and intermediate vision acuity while maintaining some pupillary responsiveness to light.</a:t>
          </a:r>
        </a:p>
      </dgm:t>
    </dgm:pt>
    <dgm:pt modelId="{43F3F1F2-D68C-4F98-86F7-84A5B8FD7624}" type="parTrans" cxnId="{DAD97A5F-1EB8-43D6-9C3A-EB367E3AD200}">
      <dgm:prSet/>
      <dgm:spPr/>
      <dgm:t>
        <a:bodyPr/>
        <a:lstStyle/>
        <a:p>
          <a:endParaRPr lang="en-US"/>
        </a:p>
      </dgm:t>
    </dgm:pt>
    <dgm:pt modelId="{6C5AB954-4550-4175-98A4-3B0C9C490546}" type="sibTrans" cxnId="{DAD97A5F-1EB8-43D6-9C3A-EB367E3AD200}">
      <dgm:prSet/>
      <dgm:spPr/>
      <dgm:t>
        <a:bodyPr/>
        <a:lstStyle/>
        <a:p>
          <a:endParaRPr lang="en-US"/>
        </a:p>
      </dgm:t>
    </dgm:pt>
    <dgm:pt modelId="{AD735E77-8502-4FFA-A437-CA86BDF49EBA}">
      <dgm:prSet/>
      <dgm:spPr/>
      <dgm:t>
        <a:bodyPr/>
        <a:lstStyle/>
        <a:p>
          <a:r>
            <a:rPr lang="en-US"/>
            <a:t>The drug also contracts the ciliary muscle, which may make the eye more myopic.</a:t>
          </a:r>
        </a:p>
      </dgm:t>
    </dgm:pt>
    <dgm:pt modelId="{44D9F2D4-B907-4101-868B-6E0D999B9FE3}" type="parTrans" cxnId="{077E10E9-C3BC-4D42-ACA5-6FDC2797339D}">
      <dgm:prSet/>
      <dgm:spPr/>
      <dgm:t>
        <a:bodyPr/>
        <a:lstStyle/>
        <a:p>
          <a:endParaRPr lang="en-US"/>
        </a:p>
      </dgm:t>
    </dgm:pt>
    <dgm:pt modelId="{443E5A5F-A8D0-458D-B487-478C33AEA4CD}" type="sibTrans" cxnId="{077E10E9-C3BC-4D42-ACA5-6FDC2797339D}">
      <dgm:prSet/>
      <dgm:spPr/>
      <dgm:t>
        <a:bodyPr/>
        <a:lstStyle/>
        <a:p>
          <a:endParaRPr lang="en-US"/>
        </a:p>
      </dgm:t>
    </dgm:pt>
    <dgm:pt modelId="{19DB30B0-FD90-E64B-ADE1-84BECFB58522}" type="pres">
      <dgm:prSet presAssocID="{7F4EE596-C7D0-483F-9C37-A215529DAF37}" presName="linear" presStyleCnt="0">
        <dgm:presLayoutVars>
          <dgm:animLvl val="lvl"/>
          <dgm:resizeHandles val="exact"/>
        </dgm:presLayoutVars>
      </dgm:prSet>
      <dgm:spPr/>
    </dgm:pt>
    <dgm:pt modelId="{E5ABB194-22A2-BB4C-BEFA-134AACAC86D8}" type="pres">
      <dgm:prSet presAssocID="{05BCAC71-4F5B-4F17-9095-047F06D0772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11F80D6-D0A4-B844-B8F4-434D59E4A858}" type="pres">
      <dgm:prSet presAssocID="{9AAF032C-2FBE-458F-8B08-96B4892118AC}" presName="spacer" presStyleCnt="0"/>
      <dgm:spPr/>
    </dgm:pt>
    <dgm:pt modelId="{F9DA751C-C467-F049-A3E5-6846C752C2B4}" type="pres">
      <dgm:prSet presAssocID="{82CFFB3C-30F0-40F1-A4A7-365E51B8AB1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4770581B-C48B-404D-A674-6D47D567FE26}" type="pres">
      <dgm:prSet presAssocID="{6C5AB954-4550-4175-98A4-3B0C9C490546}" presName="spacer" presStyleCnt="0"/>
      <dgm:spPr/>
    </dgm:pt>
    <dgm:pt modelId="{CF958D4D-3B2A-D94F-B165-0CFB58C54EC3}" type="pres">
      <dgm:prSet presAssocID="{AD735E77-8502-4FFA-A437-CA86BDF49EBA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DE0F7E04-D8A2-0C4D-B259-F0FA601BFA55}" type="presOf" srcId="{82CFFB3C-30F0-40F1-A4A7-365E51B8AB19}" destId="{F9DA751C-C467-F049-A3E5-6846C752C2B4}" srcOrd="0" destOrd="0" presId="urn:microsoft.com/office/officeart/2005/8/layout/vList2"/>
    <dgm:cxn modelId="{7B619C05-1D04-42EF-8E1C-C086F98548C5}" srcId="{7F4EE596-C7D0-483F-9C37-A215529DAF37}" destId="{05BCAC71-4F5B-4F17-9095-047F06D0772B}" srcOrd="0" destOrd="0" parTransId="{7BBEBF14-F7C1-41EA-B3FD-9B01511B7592}" sibTransId="{9AAF032C-2FBE-458F-8B08-96B4892118AC}"/>
    <dgm:cxn modelId="{55EF1F37-7118-314B-A04C-CB8086955A17}" type="presOf" srcId="{AD735E77-8502-4FFA-A437-CA86BDF49EBA}" destId="{CF958D4D-3B2A-D94F-B165-0CFB58C54EC3}" srcOrd="0" destOrd="0" presId="urn:microsoft.com/office/officeart/2005/8/layout/vList2"/>
    <dgm:cxn modelId="{DAD97A5F-1EB8-43D6-9C3A-EB367E3AD200}" srcId="{7F4EE596-C7D0-483F-9C37-A215529DAF37}" destId="{82CFFB3C-30F0-40F1-A4A7-365E51B8AB19}" srcOrd="1" destOrd="0" parTransId="{43F3F1F2-D68C-4F98-86F7-84A5B8FD7624}" sibTransId="{6C5AB954-4550-4175-98A4-3B0C9C490546}"/>
    <dgm:cxn modelId="{D1AFC765-5532-284A-B30D-01128DFA9AB7}" type="presOf" srcId="{05BCAC71-4F5B-4F17-9095-047F06D0772B}" destId="{E5ABB194-22A2-BB4C-BEFA-134AACAC86D8}" srcOrd="0" destOrd="0" presId="urn:microsoft.com/office/officeart/2005/8/layout/vList2"/>
    <dgm:cxn modelId="{F666CE8A-F812-D842-9DC1-5AD8A94A9285}" type="presOf" srcId="{7F4EE596-C7D0-483F-9C37-A215529DAF37}" destId="{19DB30B0-FD90-E64B-ADE1-84BECFB58522}" srcOrd="0" destOrd="0" presId="urn:microsoft.com/office/officeart/2005/8/layout/vList2"/>
    <dgm:cxn modelId="{077E10E9-C3BC-4D42-ACA5-6FDC2797339D}" srcId="{7F4EE596-C7D0-483F-9C37-A215529DAF37}" destId="{AD735E77-8502-4FFA-A437-CA86BDF49EBA}" srcOrd="2" destOrd="0" parTransId="{44D9F2D4-B907-4101-868B-6E0D999B9FE3}" sibTransId="{443E5A5F-A8D0-458D-B487-478C33AEA4CD}"/>
    <dgm:cxn modelId="{6514B009-8806-7C44-9DFA-9975087FF355}" type="presParOf" srcId="{19DB30B0-FD90-E64B-ADE1-84BECFB58522}" destId="{E5ABB194-22A2-BB4C-BEFA-134AACAC86D8}" srcOrd="0" destOrd="0" presId="urn:microsoft.com/office/officeart/2005/8/layout/vList2"/>
    <dgm:cxn modelId="{E813DE32-1B79-2348-B7DB-C7787C138FB7}" type="presParOf" srcId="{19DB30B0-FD90-E64B-ADE1-84BECFB58522}" destId="{F11F80D6-D0A4-B844-B8F4-434D59E4A858}" srcOrd="1" destOrd="0" presId="urn:microsoft.com/office/officeart/2005/8/layout/vList2"/>
    <dgm:cxn modelId="{54F198FA-2071-1741-8BAD-405C16BD868D}" type="presParOf" srcId="{19DB30B0-FD90-E64B-ADE1-84BECFB58522}" destId="{F9DA751C-C467-F049-A3E5-6846C752C2B4}" srcOrd="2" destOrd="0" presId="urn:microsoft.com/office/officeart/2005/8/layout/vList2"/>
    <dgm:cxn modelId="{C53A0B36-564E-DB4E-9CF1-20D82AAF7A66}" type="presParOf" srcId="{19DB30B0-FD90-E64B-ADE1-84BECFB58522}" destId="{4770581B-C48B-404D-A674-6D47D567FE26}" srcOrd="3" destOrd="0" presId="urn:microsoft.com/office/officeart/2005/8/layout/vList2"/>
    <dgm:cxn modelId="{57762AD3-1B51-C544-B4E5-5AB190B6135D}" type="presParOf" srcId="{19DB30B0-FD90-E64B-ADE1-84BECFB58522}" destId="{CF958D4D-3B2A-D94F-B165-0CFB58C54EC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E0817D7-C472-4454-A02E-44B965C44FF4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AF7E7C8B-E6FC-41D9-929F-3AA20DE37452}">
      <dgm:prSet/>
      <dgm:spPr/>
      <dgm:t>
        <a:bodyPr/>
        <a:lstStyle/>
        <a:p>
          <a:r>
            <a:rPr lang="en-US"/>
            <a:t>HEADACHES</a:t>
          </a:r>
        </a:p>
      </dgm:t>
    </dgm:pt>
    <dgm:pt modelId="{7D148AA9-DC2E-48C6-A721-D3500F7B0CF3}" type="parTrans" cxnId="{E0D2119A-8136-47C3-BE3F-7FA9F77A13FE}">
      <dgm:prSet/>
      <dgm:spPr/>
      <dgm:t>
        <a:bodyPr/>
        <a:lstStyle/>
        <a:p>
          <a:endParaRPr lang="en-US"/>
        </a:p>
      </dgm:t>
    </dgm:pt>
    <dgm:pt modelId="{C618D742-7B43-4C3D-BE63-6DECB18187AD}" type="sibTrans" cxnId="{E0D2119A-8136-47C3-BE3F-7FA9F77A13FE}">
      <dgm:prSet/>
      <dgm:spPr/>
      <dgm:t>
        <a:bodyPr/>
        <a:lstStyle/>
        <a:p>
          <a:endParaRPr lang="en-US"/>
        </a:p>
      </dgm:t>
    </dgm:pt>
    <dgm:pt modelId="{1D953E33-678F-4ADD-892B-FBCB9B174243}">
      <dgm:prSet/>
      <dgm:spPr/>
      <dgm:t>
        <a:bodyPr/>
        <a:lstStyle/>
        <a:p>
          <a:r>
            <a:rPr lang="en-US"/>
            <a:t>BROW ACHE</a:t>
          </a:r>
        </a:p>
      </dgm:t>
    </dgm:pt>
    <dgm:pt modelId="{6A36D0EB-714E-43C2-84B3-B46E8B5C2E34}" type="parTrans" cxnId="{0E35BF99-31C4-479A-B416-6802C2CC3524}">
      <dgm:prSet/>
      <dgm:spPr/>
      <dgm:t>
        <a:bodyPr/>
        <a:lstStyle/>
        <a:p>
          <a:endParaRPr lang="en-US"/>
        </a:p>
      </dgm:t>
    </dgm:pt>
    <dgm:pt modelId="{86EABCE8-3BCD-40F5-AFC0-F75489670162}" type="sibTrans" cxnId="{0E35BF99-31C4-479A-B416-6802C2CC3524}">
      <dgm:prSet/>
      <dgm:spPr/>
      <dgm:t>
        <a:bodyPr/>
        <a:lstStyle/>
        <a:p>
          <a:endParaRPr lang="en-US"/>
        </a:p>
      </dgm:t>
    </dgm:pt>
    <dgm:pt modelId="{2357A880-CAB7-4D60-AF8E-7AE5845C45F3}">
      <dgm:prSet/>
      <dgm:spPr/>
      <dgm:t>
        <a:bodyPr/>
        <a:lstStyle/>
        <a:p>
          <a:r>
            <a:rPr lang="en-US"/>
            <a:t>MYOPIC SHIFT</a:t>
          </a:r>
        </a:p>
      </dgm:t>
    </dgm:pt>
    <dgm:pt modelId="{F8D67B65-2395-4ED1-895A-C402D8346F48}" type="parTrans" cxnId="{F52163D0-5C7A-4916-A4DA-551512E8052F}">
      <dgm:prSet/>
      <dgm:spPr/>
      <dgm:t>
        <a:bodyPr/>
        <a:lstStyle/>
        <a:p>
          <a:endParaRPr lang="en-US"/>
        </a:p>
      </dgm:t>
    </dgm:pt>
    <dgm:pt modelId="{E3AE9D86-3C78-4103-9B5C-9723858EAD3B}" type="sibTrans" cxnId="{F52163D0-5C7A-4916-A4DA-551512E8052F}">
      <dgm:prSet/>
      <dgm:spPr/>
      <dgm:t>
        <a:bodyPr/>
        <a:lstStyle/>
        <a:p>
          <a:endParaRPr lang="en-US"/>
        </a:p>
      </dgm:t>
    </dgm:pt>
    <dgm:pt modelId="{21BCEFB2-5C32-4A8B-BAD9-72FDB1BF61DB}">
      <dgm:prSet/>
      <dgm:spPr/>
      <dgm:t>
        <a:bodyPr/>
        <a:lstStyle/>
        <a:p>
          <a:r>
            <a:rPr lang="en-US"/>
            <a:t>CATARACTS</a:t>
          </a:r>
        </a:p>
      </dgm:t>
    </dgm:pt>
    <dgm:pt modelId="{06F4A3CA-ED47-490B-9943-735A1C1ACB0C}" type="parTrans" cxnId="{BE36616F-36EF-43C3-BEED-DAA7BD0B065E}">
      <dgm:prSet/>
      <dgm:spPr/>
      <dgm:t>
        <a:bodyPr/>
        <a:lstStyle/>
        <a:p>
          <a:endParaRPr lang="en-US"/>
        </a:p>
      </dgm:t>
    </dgm:pt>
    <dgm:pt modelId="{B1D639B5-C14C-45BC-A027-639C08E8AABB}" type="sibTrans" cxnId="{BE36616F-36EF-43C3-BEED-DAA7BD0B065E}">
      <dgm:prSet/>
      <dgm:spPr/>
      <dgm:t>
        <a:bodyPr/>
        <a:lstStyle/>
        <a:p>
          <a:endParaRPr lang="en-US"/>
        </a:p>
      </dgm:t>
    </dgm:pt>
    <dgm:pt modelId="{C7F0670F-E31A-4EA1-BFEC-B2B5F0B86F8C}">
      <dgm:prSet/>
      <dgm:spPr/>
      <dgm:t>
        <a:bodyPr/>
        <a:lstStyle/>
        <a:p>
          <a:r>
            <a:rPr lang="en-US"/>
            <a:t>RETINAL DETACHMENT</a:t>
          </a:r>
        </a:p>
      </dgm:t>
    </dgm:pt>
    <dgm:pt modelId="{E74BF955-E965-4E20-A133-6C2B97D1BBA5}" type="parTrans" cxnId="{B91E2E1C-FA77-4B79-B7F5-6FF0C8DAB66C}">
      <dgm:prSet/>
      <dgm:spPr/>
      <dgm:t>
        <a:bodyPr/>
        <a:lstStyle/>
        <a:p>
          <a:endParaRPr lang="en-US"/>
        </a:p>
      </dgm:t>
    </dgm:pt>
    <dgm:pt modelId="{CD260CB4-1BCB-459F-B122-47046F301C7A}" type="sibTrans" cxnId="{B91E2E1C-FA77-4B79-B7F5-6FF0C8DAB66C}">
      <dgm:prSet/>
      <dgm:spPr/>
      <dgm:t>
        <a:bodyPr/>
        <a:lstStyle/>
        <a:p>
          <a:endParaRPr lang="en-US"/>
        </a:p>
      </dgm:t>
    </dgm:pt>
    <dgm:pt modelId="{C0F9EB8D-7AA3-644B-82E9-C28A38AB04DC}" type="pres">
      <dgm:prSet presAssocID="{2E0817D7-C472-4454-A02E-44B965C44FF4}" presName="linear" presStyleCnt="0">
        <dgm:presLayoutVars>
          <dgm:animLvl val="lvl"/>
          <dgm:resizeHandles val="exact"/>
        </dgm:presLayoutVars>
      </dgm:prSet>
      <dgm:spPr/>
    </dgm:pt>
    <dgm:pt modelId="{B216ED5C-FF7F-264E-9794-78D7FEDE448D}" type="pres">
      <dgm:prSet presAssocID="{AF7E7C8B-E6FC-41D9-929F-3AA20DE37452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405681D0-4B45-484C-AAD7-C913664BA225}" type="pres">
      <dgm:prSet presAssocID="{C618D742-7B43-4C3D-BE63-6DECB18187AD}" presName="spacer" presStyleCnt="0"/>
      <dgm:spPr/>
    </dgm:pt>
    <dgm:pt modelId="{8CF1061F-67FF-F947-94D3-A4C3409EF4AD}" type="pres">
      <dgm:prSet presAssocID="{1D953E33-678F-4ADD-892B-FBCB9B174243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EA9C8E0-53C0-E140-AE3F-C31415C2D388}" type="pres">
      <dgm:prSet presAssocID="{86EABCE8-3BCD-40F5-AFC0-F75489670162}" presName="spacer" presStyleCnt="0"/>
      <dgm:spPr/>
    </dgm:pt>
    <dgm:pt modelId="{257786A9-17C2-AF43-BF01-F33B85212224}" type="pres">
      <dgm:prSet presAssocID="{2357A880-CAB7-4D60-AF8E-7AE5845C45F3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E2581074-8777-E941-AA24-A0DC4F19E1E4}" type="pres">
      <dgm:prSet presAssocID="{E3AE9D86-3C78-4103-9B5C-9723858EAD3B}" presName="spacer" presStyleCnt="0"/>
      <dgm:spPr/>
    </dgm:pt>
    <dgm:pt modelId="{6C73593D-476B-0F4C-9E55-946BDFBFAF59}" type="pres">
      <dgm:prSet presAssocID="{21BCEFB2-5C32-4A8B-BAD9-72FDB1BF61DB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FA61BB31-266F-BF48-A1D7-8BCC5554210F}" type="pres">
      <dgm:prSet presAssocID="{B1D639B5-C14C-45BC-A027-639C08E8AABB}" presName="spacer" presStyleCnt="0"/>
      <dgm:spPr/>
    </dgm:pt>
    <dgm:pt modelId="{8D832CF5-8CAA-BA43-945D-E9036D790207}" type="pres">
      <dgm:prSet presAssocID="{C7F0670F-E31A-4EA1-BFEC-B2B5F0B86F8C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F8420F0B-DFBC-2B4C-80C7-4026FC4CA0A8}" type="presOf" srcId="{AF7E7C8B-E6FC-41D9-929F-3AA20DE37452}" destId="{B216ED5C-FF7F-264E-9794-78D7FEDE448D}" srcOrd="0" destOrd="0" presId="urn:microsoft.com/office/officeart/2005/8/layout/vList2"/>
    <dgm:cxn modelId="{B91E2E1C-FA77-4B79-B7F5-6FF0C8DAB66C}" srcId="{2E0817D7-C472-4454-A02E-44B965C44FF4}" destId="{C7F0670F-E31A-4EA1-BFEC-B2B5F0B86F8C}" srcOrd="4" destOrd="0" parTransId="{E74BF955-E965-4E20-A133-6C2B97D1BBA5}" sibTransId="{CD260CB4-1BCB-459F-B122-47046F301C7A}"/>
    <dgm:cxn modelId="{35A2AD29-E202-FF44-850E-C938BD627DA2}" type="presOf" srcId="{2357A880-CAB7-4D60-AF8E-7AE5845C45F3}" destId="{257786A9-17C2-AF43-BF01-F33B85212224}" srcOrd="0" destOrd="0" presId="urn:microsoft.com/office/officeart/2005/8/layout/vList2"/>
    <dgm:cxn modelId="{753FC330-404E-4143-B041-EC9C84C8A357}" type="presOf" srcId="{C7F0670F-E31A-4EA1-BFEC-B2B5F0B86F8C}" destId="{8D832CF5-8CAA-BA43-945D-E9036D790207}" srcOrd="0" destOrd="0" presId="urn:microsoft.com/office/officeart/2005/8/layout/vList2"/>
    <dgm:cxn modelId="{DE701263-CA61-A642-B56D-A652B1928A99}" type="presOf" srcId="{2E0817D7-C472-4454-A02E-44B965C44FF4}" destId="{C0F9EB8D-7AA3-644B-82E9-C28A38AB04DC}" srcOrd="0" destOrd="0" presId="urn:microsoft.com/office/officeart/2005/8/layout/vList2"/>
    <dgm:cxn modelId="{BE36616F-36EF-43C3-BEED-DAA7BD0B065E}" srcId="{2E0817D7-C472-4454-A02E-44B965C44FF4}" destId="{21BCEFB2-5C32-4A8B-BAD9-72FDB1BF61DB}" srcOrd="3" destOrd="0" parTransId="{06F4A3CA-ED47-490B-9943-735A1C1ACB0C}" sibTransId="{B1D639B5-C14C-45BC-A027-639C08E8AABB}"/>
    <dgm:cxn modelId="{5A030893-676E-9E4C-8FB3-A8DEF2CB6983}" type="presOf" srcId="{1D953E33-678F-4ADD-892B-FBCB9B174243}" destId="{8CF1061F-67FF-F947-94D3-A4C3409EF4AD}" srcOrd="0" destOrd="0" presId="urn:microsoft.com/office/officeart/2005/8/layout/vList2"/>
    <dgm:cxn modelId="{0E35BF99-31C4-479A-B416-6802C2CC3524}" srcId="{2E0817D7-C472-4454-A02E-44B965C44FF4}" destId="{1D953E33-678F-4ADD-892B-FBCB9B174243}" srcOrd="1" destOrd="0" parTransId="{6A36D0EB-714E-43C2-84B3-B46E8B5C2E34}" sibTransId="{86EABCE8-3BCD-40F5-AFC0-F75489670162}"/>
    <dgm:cxn modelId="{E0D2119A-8136-47C3-BE3F-7FA9F77A13FE}" srcId="{2E0817D7-C472-4454-A02E-44B965C44FF4}" destId="{AF7E7C8B-E6FC-41D9-929F-3AA20DE37452}" srcOrd="0" destOrd="0" parTransId="{7D148AA9-DC2E-48C6-A721-D3500F7B0CF3}" sibTransId="{C618D742-7B43-4C3D-BE63-6DECB18187AD}"/>
    <dgm:cxn modelId="{7B14CEB0-3ACD-4847-8B0B-CD2D3B1E46D2}" type="presOf" srcId="{21BCEFB2-5C32-4A8B-BAD9-72FDB1BF61DB}" destId="{6C73593D-476B-0F4C-9E55-946BDFBFAF59}" srcOrd="0" destOrd="0" presId="urn:microsoft.com/office/officeart/2005/8/layout/vList2"/>
    <dgm:cxn modelId="{F52163D0-5C7A-4916-A4DA-551512E8052F}" srcId="{2E0817D7-C472-4454-A02E-44B965C44FF4}" destId="{2357A880-CAB7-4D60-AF8E-7AE5845C45F3}" srcOrd="2" destOrd="0" parTransId="{F8D67B65-2395-4ED1-895A-C402D8346F48}" sibTransId="{E3AE9D86-3C78-4103-9B5C-9723858EAD3B}"/>
    <dgm:cxn modelId="{974F8170-7B95-594D-AF44-4134BE3766EB}" type="presParOf" srcId="{C0F9EB8D-7AA3-644B-82E9-C28A38AB04DC}" destId="{B216ED5C-FF7F-264E-9794-78D7FEDE448D}" srcOrd="0" destOrd="0" presId="urn:microsoft.com/office/officeart/2005/8/layout/vList2"/>
    <dgm:cxn modelId="{64A2928B-FB57-9E44-9FBF-83F0B5246EB9}" type="presParOf" srcId="{C0F9EB8D-7AA3-644B-82E9-C28A38AB04DC}" destId="{405681D0-4B45-484C-AAD7-C913664BA225}" srcOrd="1" destOrd="0" presId="urn:microsoft.com/office/officeart/2005/8/layout/vList2"/>
    <dgm:cxn modelId="{E5CD87B5-8BB7-744F-8877-3E602210EDA5}" type="presParOf" srcId="{C0F9EB8D-7AA3-644B-82E9-C28A38AB04DC}" destId="{8CF1061F-67FF-F947-94D3-A4C3409EF4AD}" srcOrd="2" destOrd="0" presId="urn:microsoft.com/office/officeart/2005/8/layout/vList2"/>
    <dgm:cxn modelId="{B49425EE-D9B5-6641-BA9D-140907D9D4BA}" type="presParOf" srcId="{C0F9EB8D-7AA3-644B-82E9-C28A38AB04DC}" destId="{8EA9C8E0-53C0-E140-AE3F-C31415C2D388}" srcOrd="3" destOrd="0" presId="urn:microsoft.com/office/officeart/2005/8/layout/vList2"/>
    <dgm:cxn modelId="{3DD8C944-4783-A143-A8A7-BEAA5F27633E}" type="presParOf" srcId="{C0F9EB8D-7AA3-644B-82E9-C28A38AB04DC}" destId="{257786A9-17C2-AF43-BF01-F33B85212224}" srcOrd="4" destOrd="0" presId="urn:microsoft.com/office/officeart/2005/8/layout/vList2"/>
    <dgm:cxn modelId="{B916F727-B452-F84D-BD56-C30121997869}" type="presParOf" srcId="{C0F9EB8D-7AA3-644B-82E9-C28A38AB04DC}" destId="{E2581074-8777-E941-AA24-A0DC4F19E1E4}" srcOrd="5" destOrd="0" presId="urn:microsoft.com/office/officeart/2005/8/layout/vList2"/>
    <dgm:cxn modelId="{4C8D9704-AA98-1347-86C1-B6C11DCD41AE}" type="presParOf" srcId="{C0F9EB8D-7AA3-644B-82E9-C28A38AB04DC}" destId="{6C73593D-476B-0F4C-9E55-946BDFBFAF59}" srcOrd="6" destOrd="0" presId="urn:microsoft.com/office/officeart/2005/8/layout/vList2"/>
    <dgm:cxn modelId="{C59041EE-B0D8-2F4E-9464-B03A650F693D}" type="presParOf" srcId="{C0F9EB8D-7AA3-644B-82E9-C28A38AB04DC}" destId="{FA61BB31-266F-BF48-A1D7-8BCC5554210F}" srcOrd="7" destOrd="0" presId="urn:microsoft.com/office/officeart/2005/8/layout/vList2"/>
    <dgm:cxn modelId="{F6BB3E1B-A048-7F47-9382-560AEFB29199}" type="presParOf" srcId="{C0F9EB8D-7AA3-644B-82E9-C28A38AB04DC}" destId="{8D832CF5-8CAA-BA43-945D-E9036D79020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59D63F6-B2FD-4CD6-AAB9-5CE2AAD05B1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BE5385B7-9E7A-4ED5-8554-A3EC87C960A2}">
      <dgm:prSet/>
      <dgm:spPr/>
      <dgm:t>
        <a:bodyPr/>
        <a:lstStyle/>
        <a:p>
          <a:r>
            <a:rPr lang="en-US"/>
            <a:t>MYDRIASIS</a:t>
          </a:r>
        </a:p>
      </dgm:t>
    </dgm:pt>
    <dgm:pt modelId="{9CA758F0-15D0-498C-B6B5-8D077C2F6D14}" type="parTrans" cxnId="{C4751B90-BDD0-4105-9FCE-9AE3C67702EA}">
      <dgm:prSet/>
      <dgm:spPr/>
      <dgm:t>
        <a:bodyPr/>
        <a:lstStyle/>
        <a:p>
          <a:endParaRPr lang="en-US"/>
        </a:p>
      </dgm:t>
    </dgm:pt>
    <dgm:pt modelId="{DD01AA85-0D4D-4E02-AD10-C7E3D4C18289}" type="sibTrans" cxnId="{C4751B90-BDD0-4105-9FCE-9AE3C67702EA}">
      <dgm:prSet/>
      <dgm:spPr/>
      <dgm:t>
        <a:bodyPr/>
        <a:lstStyle/>
        <a:p>
          <a:endParaRPr lang="en-US"/>
        </a:p>
      </dgm:t>
    </dgm:pt>
    <dgm:pt modelId="{3FB7C72D-A560-40CA-9CE3-CDE614D36801}">
      <dgm:prSet/>
      <dgm:spPr/>
      <dgm:t>
        <a:bodyPr/>
        <a:lstStyle/>
        <a:p>
          <a:r>
            <a:rPr lang="en-US"/>
            <a:t>VASOCONSTRICTION</a:t>
          </a:r>
        </a:p>
      </dgm:t>
    </dgm:pt>
    <dgm:pt modelId="{19FD5946-0C1C-4FEA-9B6D-40F3F487863E}" type="parTrans" cxnId="{A203C472-27E1-4C10-9FCA-074FD924C9CD}">
      <dgm:prSet/>
      <dgm:spPr/>
      <dgm:t>
        <a:bodyPr/>
        <a:lstStyle/>
        <a:p>
          <a:endParaRPr lang="en-US"/>
        </a:p>
      </dgm:t>
    </dgm:pt>
    <dgm:pt modelId="{4695A761-8A9C-435A-A9D7-7BEC3D3B6283}" type="sibTrans" cxnId="{A203C472-27E1-4C10-9FCA-074FD924C9CD}">
      <dgm:prSet/>
      <dgm:spPr/>
      <dgm:t>
        <a:bodyPr/>
        <a:lstStyle/>
        <a:p>
          <a:endParaRPr lang="en-US"/>
        </a:p>
      </dgm:t>
    </dgm:pt>
    <dgm:pt modelId="{F5076A35-2226-4415-87E3-361159E3A293}">
      <dgm:prSet/>
      <dgm:spPr/>
      <dgm:t>
        <a:bodyPr/>
        <a:lstStyle/>
        <a:p>
          <a:r>
            <a:rPr lang="en-US"/>
            <a:t>FIGHT OR FLIGHT</a:t>
          </a:r>
        </a:p>
      </dgm:t>
    </dgm:pt>
    <dgm:pt modelId="{4651C6A7-4975-4970-A692-666E54D565DA}" type="parTrans" cxnId="{913CFD30-1676-46CB-8C39-16500A0A3DC2}">
      <dgm:prSet/>
      <dgm:spPr/>
      <dgm:t>
        <a:bodyPr/>
        <a:lstStyle/>
        <a:p>
          <a:endParaRPr lang="en-US"/>
        </a:p>
      </dgm:t>
    </dgm:pt>
    <dgm:pt modelId="{336E8CD2-33E7-4F23-83DA-72C4AE97E241}" type="sibTrans" cxnId="{913CFD30-1676-46CB-8C39-16500A0A3DC2}">
      <dgm:prSet/>
      <dgm:spPr/>
      <dgm:t>
        <a:bodyPr/>
        <a:lstStyle/>
        <a:p>
          <a:endParaRPr lang="en-US"/>
        </a:p>
      </dgm:t>
    </dgm:pt>
    <dgm:pt modelId="{32A9137D-5894-4E8A-B912-9BEB0D1CD6B3}">
      <dgm:prSet/>
      <dgm:spPr/>
      <dgm:t>
        <a:bodyPr/>
        <a:lstStyle/>
        <a:p>
          <a:r>
            <a:rPr lang="en-US"/>
            <a:t>BRONCHODILATION</a:t>
          </a:r>
        </a:p>
      </dgm:t>
    </dgm:pt>
    <dgm:pt modelId="{5178498B-AA01-4524-A1E6-23F7F0BB3CD2}" type="parTrans" cxnId="{EBF6FC47-C3A9-4ADE-A7B5-3CDB3D64C40E}">
      <dgm:prSet/>
      <dgm:spPr/>
      <dgm:t>
        <a:bodyPr/>
        <a:lstStyle/>
        <a:p>
          <a:endParaRPr lang="en-US"/>
        </a:p>
      </dgm:t>
    </dgm:pt>
    <dgm:pt modelId="{1EBCC6A4-2DC7-4823-B13D-5BBEDF7BD9C2}" type="sibTrans" cxnId="{EBF6FC47-C3A9-4ADE-A7B5-3CDB3D64C40E}">
      <dgm:prSet/>
      <dgm:spPr/>
      <dgm:t>
        <a:bodyPr/>
        <a:lstStyle/>
        <a:p>
          <a:endParaRPr lang="en-US"/>
        </a:p>
      </dgm:t>
    </dgm:pt>
    <dgm:pt modelId="{61A3E4ED-3D18-4986-95AE-FEA6D81B2E9A}">
      <dgm:prSet/>
      <dgm:spPr/>
      <dgm:t>
        <a:bodyPr/>
        <a:lstStyle/>
        <a:p>
          <a:r>
            <a:rPr lang="en-US"/>
            <a:t>DRYNESS</a:t>
          </a:r>
        </a:p>
      </dgm:t>
    </dgm:pt>
    <dgm:pt modelId="{7A20B6D7-24F0-430D-A8E9-0386C793AAB6}" type="parTrans" cxnId="{D24D941A-EC23-42A5-879F-65CF5573CE4C}">
      <dgm:prSet/>
      <dgm:spPr/>
      <dgm:t>
        <a:bodyPr/>
        <a:lstStyle/>
        <a:p>
          <a:endParaRPr lang="en-US"/>
        </a:p>
      </dgm:t>
    </dgm:pt>
    <dgm:pt modelId="{3DF3D090-F3A6-4431-B336-2D1D5BA4E2F6}" type="sibTrans" cxnId="{D24D941A-EC23-42A5-879F-65CF5573CE4C}">
      <dgm:prSet/>
      <dgm:spPr/>
      <dgm:t>
        <a:bodyPr/>
        <a:lstStyle/>
        <a:p>
          <a:endParaRPr lang="en-US"/>
        </a:p>
      </dgm:t>
    </dgm:pt>
    <dgm:pt modelId="{45DEE041-5FB6-B546-8CAA-6924964BFC13}" type="pres">
      <dgm:prSet presAssocID="{159D63F6-B2FD-4CD6-AAB9-5CE2AAD05B1D}" presName="linear" presStyleCnt="0">
        <dgm:presLayoutVars>
          <dgm:animLvl val="lvl"/>
          <dgm:resizeHandles val="exact"/>
        </dgm:presLayoutVars>
      </dgm:prSet>
      <dgm:spPr/>
    </dgm:pt>
    <dgm:pt modelId="{490112EC-91AF-FC4F-9AE7-C35C9B7DAB47}" type="pres">
      <dgm:prSet presAssocID="{BE5385B7-9E7A-4ED5-8554-A3EC87C960A2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E18691D6-FEAF-8D4F-92A1-E79107E6A380}" type="pres">
      <dgm:prSet presAssocID="{DD01AA85-0D4D-4E02-AD10-C7E3D4C18289}" presName="spacer" presStyleCnt="0"/>
      <dgm:spPr/>
    </dgm:pt>
    <dgm:pt modelId="{2193FD2E-9224-CA45-8DA1-B14226504F4D}" type="pres">
      <dgm:prSet presAssocID="{3FB7C72D-A560-40CA-9CE3-CDE614D36801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D2D5EBAF-B8A6-0145-A64D-955882BC60A5}" type="pres">
      <dgm:prSet presAssocID="{4695A761-8A9C-435A-A9D7-7BEC3D3B6283}" presName="spacer" presStyleCnt="0"/>
      <dgm:spPr/>
    </dgm:pt>
    <dgm:pt modelId="{E48E3644-847C-8246-84AF-A5D8A03E1857}" type="pres">
      <dgm:prSet presAssocID="{F5076A35-2226-4415-87E3-361159E3A293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FA4EC11F-B2A9-9642-BE57-C6B4597F94AF}" type="pres">
      <dgm:prSet presAssocID="{336E8CD2-33E7-4F23-83DA-72C4AE97E241}" presName="spacer" presStyleCnt="0"/>
      <dgm:spPr/>
    </dgm:pt>
    <dgm:pt modelId="{809E9FFA-1851-4549-B3F3-C795EA8D1B65}" type="pres">
      <dgm:prSet presAssocID="{32A9137D-5894-4E8A-B912-9BEB0D1CD6B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A4ABA60E-238E-F34D-A117-3B01FB3DF5D5}" type="pres">
      <dgm:prSet presAssocID="{1EBCC6A4-2DC7-4823-B13D-5BBEDF7BD9C2}" presName="spacer" presStyleCnt="0"/>
      <dgm:spPr/>
    </dgm:pt>
    <dgm:pt modelId="{BA9E1DE7-6A8F-2A4A-A330-589CA5D9D910}" type="pres">
      <dgm:prSet presAssocID="{61A3E4ED-3D18-4986-95AE-FEA6D81B2E9A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D24D941A-EC23-42A5-879F-65CF5573CE4C}" srcId="{159D63F6-B2FD-4CD6-AAB9-5CE2AAD05B1D}" destId="{61A3E4ED-3D18-4986-95AE-FEA6D81B2E9A}" srcOrd="4" destOrd="0" parTransId="{7A20B6D7-24F0-430D-A8E9-0386C793AAB6}" sibTransId="{3DF3D090-F3A6-4431-B336-2D1D5BA4E2F6}"/>
    <dgm:cxn modelId="{913CFD30-1676-46CB-8C39-16500A0A3DC2}" srcId="{159D63F6-B2FD-4CD6-AAB9-5CE2AAD05B1D}" destId="{F5076A35-2226-4415-87E3-361159E3A293}" srcOrd="2" destOrd="0" parTransId="{4651C6A7-4975-4970-A692-666E54D565DA}" sibTransId="{336E8CD2-33E7-4F23-83DA-72C4AE97E241}"/>
    <dgm:cxn modelId="{BC2E9131-AF42-6642-B89A-F61BCE5223F8}" type="presOf" srcId="{32A9137D-5894-4E8A-B912-9BEB0D1CD6B3}" destId="{809E9FFA-1851-4549-B3F3-C795EA8D1B65}" srcOrd="0" destOrd="0" presId="urn:microsoft.com/office/officeart/2005/8/layout/vList2"/>
    <dgm:cxn modelId="{EBF6FC47-C3A9-4ADE-A7B5-3CDB3D64C40E}" srcId="{159D63F6-B2FD-4CD6-AAB9-5CE2AAD05B1D}" destId="{32A9137D-5894-4E8A-B912-9BEB0D1CD6B3}" srcOrd="3" destOrd="0" parTransId="{5178498B-AA01-4524-A1E6-23F7F0BB3CD2}" sibTransId="{1EBCC6A4-2DC7-4823-B13D-5BBEDF7BD9C2}"/>
    <dgm:cxn modelId="{ABA8F95B-A1EC-F347-B465-C16136ABFFE4}" type="presOf" srcId="{F5076A35-2226-4415-87E3-361159E3A293}" destId="{E48E3644-847C-8246-84AF-A5D8A03E1857}" srcOrd="0" destOrd="0" presId="urn:microsoft.com/office/officeart/2005/8/layout/vList2"/>
    <dgm:cxn modelId="{A203C472-27E1-4C10-9FCA-074FD924C9CD}" srcId="{159D63F6-B2FD-4CD6-AAB9-5CE2AAD05B1D}" destId="{3FB7C72D-A560-40CA-9CE3-CDE614D36801}" srcOrd="1" destOrd="0" parTransId="{19FD5946-0C1C-4FEA-9B6D-40F3F487863E}" sibTransId="{4695A761-8A9C-435A-A9D7-7BEC3D3B6283}"/>
    <dgm:cxn modelId="{C4751B90-BDD0-4105-9FCE-9AE3C67702EA}" srcId="{159D63F6-B2FD-4CD6-AAB9-5CE2AAD05B1D}" destId="{BE5385B7-9E7A-4ED5-8554-A3EC87C960A2}" srcOrd="0" destOrd="0" parTransId="{9CA758F0-15D0-498C-B6B5-8D077C2F6D14}" sibTransId="{DD01AA85-0D4D-4E02-AD10-C7E3D4C18289}"/>
    <dgm:cxn modelId="{E34B2392-CE4C-0341-9CF3-DD29717BCCC2}" type="presOf" srcId="{159D63F6-B2FD-4CD6-AAB9-5CE2AAD05B1D}" destId="{45DEE041-5FB6-B546-8CAA-6924964BFC13}" srcOrd="0" destOrd="0" presId="urn:microsoft.com/office/officeart/2005/8/layout/vList2"/>
    <dgm:cxn modelId="{6F10F6B9-FF11-AF49-8FC4-25FE1798899E}" type="presOf" srcId="{BE5385B7-9E7A-4ED5-8554-A3EC87C960A2}" destId="{490112EC-91AF-FC4F-9AE7-C35C9B7DAB47}" srcOrd="0" destOrd="0" presId="urn:microsoft.com/office/officeart/2005/8/layout/vList2"/>
    <dgm:cxn modelId="{26BAB5BA-6D43-9E4F-882F-A7AB225621C7}" type="presOf" srcId="{61A3E4ED-3D18-4986-95AE-FEA6D81B2E9A}" destId="{BA9E1DE7-6A8F-2A4A-A330-589CA5D9D910}" srcOrd="0" destOrd="0" presId="urn:microsoft.com/office/officeart/2005/8/layout/vList2"/>
    <dgm:cxn modelId="{D9692CCC-7993-7547-84A0-661BF8635DD5}" type="presOf" srcId="{3FB7C72D-A560-40CA-9CE3-CDE614D36801}" destId="{2193FD2E-9224-CA45-8DA1-B14226504F4D}" srcOrd="0" destOrd="0" presId="urn:microsoft.com/office/officeart/2005/8/layout/vList2"/>
    <dgm:cxn modelId="{B6359003-1BA5-DE45-B9E8-7ECBFA210BE7}" type="presParOf" srcId="{45DEE041-5FB6-B546-8CAA-6924964BFC13}" destId="{490112EC-91AF-FC4F-9AE7-C35C9B7DAB47}" srcOrd="0" destOrd="0" presId="urn:microsoft.com/office/officeart/2005/8/layout/vList2"/>
    <dgm:cxn modelId="{75E43D97-0DF8-9A4D-9A9E-76F1C67EB13E}" type="presParOf" srcId="{45DEE041-5FB6-B546-8CAA-6924964BFC13}" destId="{E18691D6-FEAF-8D4F-92A1-E79107E6A380}" srcOrd="1" destOrd="0" presId="urn:microsoft.com/office/officeart/2005/8/layout/vList2"/>
    <dgm:cxn modelId="{B85F4EC3-E523-484C-8495-4CC1DC62C964}" type="presParOf" srcId="{45DEE041-5FB6-B546-8CAA-6924964BFC13}" destId="{2193FD2E-9224-CA45-8DA1-B14226504F4D}" srcOrd="2" destOrd="0" presId="urn:microsoft.com/office/officeart/2005/8/layout/vList2"/>
    <dgm:cxn modelId="{BF3FBB9A-6CEC-C14C-B92B-D56222070F8D}" type="presParOf" srcId="{45DEE041-5FB6-B546-8CAA-6924964BFC13}" destId="{D2D5EBAF-B8A6-0145-A64D-955882BC60A5}" srcOrd="3" destOrd="0" presId="urn:microsoft.com/office/officeart/2005/8/layout/vList2"/>
    <dgm:cxn modelId="{07C01EE7-98DF-E94C-9062-6A3C537F385F}" type="presParOf" srcId="{45DEE041-5FB6-B546-8CAA-6924964BFC13}" destId="{E48E3644-847C-8246-84AF-A5D8A03E1857}" srcOrd="4" destOrd="0" presId="urn:microsoft.com/office/officeart/2005/8/layout/vList2"/>
    <dgm:cxn modelId="{A42CB106-CE85-5F47-9C39-8239AD387E9D}" type="presParOf" srcId="{45DEE041-5FB6-B546-8CAA-6924964BFC13}" destId="{FA4EC11F-B2A9-9642-BE57-C6B4597F94AF}" srcOrd="5" destOrd="0" presId="urn:microsoft.com/office/officeart/2005/8/layout/vList2"/>
    <dgm:cxn modelId="{D24FEC0F-1DF4-2442-903F-41F326C2C160}" type="presParOf" srcId="{45DEE041-5FB6-B546-8CAA-6924964BFC13}" destId="{809E9FFA-1851-4549-B3F3-C795EA8D1B65}" srcOrd="6" destOrd="0" presId="urn:microsoft.com/office/officeart/2005/8/layout/vList2"/>
    <dgm:cxn modelId="{D92B2B6A-E1B5-8648-ABBE-572148201C8A}" type="presParOf" srcId="{45DEE041-5FB6-B546-8CAA-6924964BFC13}" destId="{A4ABA60E-238E-F34D-A117-3B01FB3DF5D5}" srcOrd="7" destOrd="0" presId="urn:microsoft.com/office/officeart/2005/8/layout/vList2"/>
    <dgm:cxn modelId="{7BBAA158-93A3-CD45-B19F-8DD58E0FF711}" type="presParOf" srcId="{45DEE041-5FB6-B546-8CAA-6924964BFC13}" destId="{BA9E1DE7-6A8F-2A4A-A330-589CA5D9D910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AC64346-4FE0-4011-8824-E919AF8B20C0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838DC9ED-BF21-429E-8819-80CE4A79BAEB}">
      <dgm:prSet/>
      <dgm:spPr/>
      <dgm:t>
        <a:bodyPr/>
        <a:lstStyle/>
        <a:p>
          <a:r>
            <a:rPr lang="en-US"/>
            <a:t>CHLORPROMAZINE</a:t>
          </a:r>
        </a:p>
      </dgm:t>
    </dgm:pt>
    <dgm:pt modelId="{541D2A09-3166-4FD8-9B07-C727659B83E5}" type="parTrans" cxnId="{6C142E07-F73C-4133-9635-D1F61A8DF55B}">
      <dgm:prSet/>
      <dgm:spPr/>
      <dgm:t>
        <a:bodyPr/>
        <a:lstStyle/>
        <a:p>
          <a:endParaRPr lang="en-US"/>
        </a:p>
      </dgm:t>
    </dgm:pt>
    <dgm:pt modelId="{86BE5729-35A5-4E68-8846-E18AD2A575F7}" type="sibTrans" cxnId="{6C142E07-F73C-4133-9635-D1F61A8DF55B}">
      <dgm:prSet/>
      <dgm:spPr/>
      <dgm:t>
        <a:bodyPr/>
        <a:lstStyle/>
        <a:p>
          <a:endParaRPr lang="en-US"/>
        </a:p>
      </dgm:t>
    </dgm:pt>
    <dgm:pt modelId="{0E822B12-0A7B-4A69-A68D-229A62F9EB76}">
      <dgm:prSet/>
      <dgm:spPr/>
      <dgm:t>
        <a:bodyPr/>
        <a:lstStyle/>
        <a:p>
          <a:r>
            <a:rPr lang="en-US"/>
            <a:t>THIORIDAZINE</a:t>
          </a:r>
        </a:p>
      </dgm:t>
    </dgm:pt>
    <dgm:pt modelId="{09AB02AA-D456-4A25-9AB7-26BDD244D930}" type="parTrans" cxnId="{348F0E66-4962-471B-A2A1-8F3ED4B54A89}">
      <dgm:prSet/>
      <dgm:spPr/>
      <dgm:t>
        <a:bodyPr/>
        <a:lstStyle/>
        <a:p>
          <a:endParaRPr lang="en-US"/>
        </a:p>
      </dgm:t>
    </dgm:pt>
    <dgm:pt modelId="{3305B2E9-09C7-4127-8423-A37093E2E47B}" type="sibTrans" cxnId="{348F0E66-4962-471B-A2A1-8F3ED4B54A89}">
      <dgm:prSet/>
      <dgm:spPr/>
      <dgm:t>
        <a:bodyPr/>
        <a:lstStyle/>
        <a:p>
          <a:endParaRPr lang="en-US"/>
        </a:p>
      </dgm:t>
    </dgm:pt>
    <dgm:pt modelId="{5740DED9-4872-4B76-BAF2-7053CC1FAF51}">
      <dgm:prSet/>
      <dgm:spPr/>
      <dgm:t>
        <a:bodyPr/>
        <a:lstStyle/>
        <a:p>
          <a:r>
            <a:rPr lang="en-US"/>
            <a:t>PROMETHAZINE (ANTI-HISTAMINE)</a:t>
          </a:r>
        </a:p>
      </dgm:t>
    </dgm:pt>
    <dgm:pt modelId="{599D9783-DA5F-451A-BAFB-CA9FFD2C2B23}" type="parTrans" cxnId="{943E4FF8-5241-476C-8531-663E9E3CFD65}">
      <dgm:prSet/>
      <dgm:spPr/>
      <dgm:t>
        <a:bodyPr/>
        <a:lstStyle/>
        <a:p>
          <a:endParaRPr lang="en-US"/>
        </a:p>
      </dgm:t>
    </dgm:pt>
    <dgm:pt modelId="{3182EE68-EDCB-4EFD-AE4E-BC0B9C1E50E7}" type="sibTrans" cxnId="{943E4FF8-5241-476C-8531-663E9E3CFD65}">
      <dgm:prSet/>
      <dgm:spPr/>
      <dgm:t>
        <a:bodyPr/>
        <a:lstStyle/>
        <a:p>
          <a:endParaRPr lang="en-US"/>
        </a:p>
      </dgm:t>
    </dgm:pt>
    <dgm:pt modelId="{0F7D9B86-352F-43C6-8EBC-58FA53F590D8}">
      <dgm:prSet/>
      <dgm:spPr/>
      <dgm:t>
        <a:bodyPr/>
        <a:lstStyle/>
        <a:p>
          <a:r>
            <a:rPr lang="en-US"/>
            <a:t>PIGMENTATION EFFECTS</a:t>
          </a:r>
        </a:p>
      </dgm:t>
    </dgm:pt>
    <dgm:pt modelId="{C1B9B842-35BD-43CB-BF39-0AE873526E9C}" type="parTrans" cxnId="{5D7DE382-8FBD-42D2-86C5-38C164E2106E}">
      <dgm:prSet/>
      <dgm:spPr/>
      <dgm:t>
        <a:bodyPr/>
        <a:lstStyle/>
        <a:p>
          <a:endParaRPr lang="en-US"/>
        </a:p>
      </dgm:t>
    </dgm:pt>
    <dgm:pt modelId="{B27AFCE0-D875-42A4-8460-4D5B9AA40DA8}" type="sibTrans" cxnId="{5D7DE382-8FBD-42D2-86C5-38C164E2106E}">
      <dgm:prSet/>
      <dgm:spPr/>
      <dgm:t>
        <a:bodyPr/>
        <a:lstStyle/>
        <a:p>
          <a:endParaRPr lang="en-US"/>
        </a:p>
      </dgm:t>
    </dgm:pt>
    <dgm:pt modelId="{FD36C6A6-6033-3E4C-8DB5-56D0B16C9003}" type="pres">
      <dgm:prSet presAssocID="{CAC64346-4FE0-4011-8824-E919AF8B20C0}" presName="linear" presStyleCnt="0">
        <dgm:presLayoutVars>
          <dgm:dir/>
          <dgm:animLvl val="lvl"/>
          <dgm:resizeHandles val="exact"/>
        </dgm:presLayoutVars>
      </dgm:prSet>
      <dgm:spPr/>
    </dgm:pt>
    <dgm:pt modelId="{B64BD0A7-22CC-A34C-84E5-E40A82DAF5AC}" type="pres">
      <dgm:prSet presAssocID="{838DC9ED-BF21-429E-8819-80CE4A79BAEB}" presName="parentLin" presStyleCnt="0"/>
      <dgm:spPr/>
    </dgm:pt>
    <dgm:pt modelId="{95A71692-C0CB-DB48-A450-502E5F907902}" type="pres">
      <dgm:prSet presAssocID="{838DC9ED-BF21-429E-8819-80CE4A79BAEB}" presName="parentLeftMargin" presStyleLbl="node1" presStyleIdx="0" presStyleCnt="4"/>
      <dgm:spPr/>
    </dgm:pt>
    <dgm:pt modelId="{2D472D23-40C0-C349-987E-324696C1D69F}" type="pres">
      <dgm:prSet presAssocID="{838DC9ED-BF21-429E-8819-80CE4A79BAE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BF8113F-26DF-7941-9AD5-6AECA127DB7A}" type="pres">
      <dgm:prSet presAssocID="{838DC9ED-BF21-429E-8819-80CE4A79BAEB}" presName="negativeSpace" presStyleCnt="0"/>
      <dgm:spPr/>
    </dgm:pt>
    <dgm:pt modelId="{997749B4-F079-DD48-9C2F-0593BA510093}" type="pres">
      <dgm:prSet presAssocID="{838DC9ED-BF21-429E-8819-80CE4A79BAEB}" presName="childText" presStyleLbl="conFgAcc1" presStyleIdx="0" presStyleCnt="4">
        <dgm:presLayoutVars>
          <dgm:bulletEnabled val="1"/>
        </dgm:presLayoutVars>
      </dgm:prSet>
      <dgm:spPr/>
    </dgm:pt>
    <dgm:pt modelId="{AD0B692E-7C8A-754B-9CD7-9BBF18C5095A}" type="pres">
      <dgm:prSet presAssocID="{86BE5729-35A5-4E68-8846-E18AD2A575F7}" presName="spaceBetweenRectangles" presStyleCnt="0"/>
      <dgm:spPr/>
    </dgm:pt>
    <dgm:pt modelId="{557C56B5-5E7A-FC43-B6E8-C424A1591FFD}" type="pres">
      <dgm:prSet presAssocID="{0E822B12-0A7B-4A69-A68D-229A62F9EB76}" presName="parentLin" presStyleCnt="0"/>
      <dgm:spPr/>
    </dgm:pt>
    <dgm:pt modelId="{F919650D-64A6-7243-B893-CFA552F69060}" type="pres">
      <dgm:prSet presAssocID="{0E822B12-0A7B-4A69-A68D-229A62F9EB76}" presName="parentLeftMargin" presStyleLbl="node1" presStyleIdx="0" presStyleCnt="4"/>
      <dgm:spPr/>
    </dgm:pt>
    <dgm:pt modelId="{C73480DE-D1DD-624E-BE62-BB32D8CC69E2}" type="pres">
      <dgm:prSet presAssocID="{0E822B12-0A7B-4A69-A68D-229A62F9EB76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A98E30C8-A334-8542-A076-F1058AEE102E}" type="pres">
      <dgm:prSet presAssocID="{0E822B12-0A7B-4A69-A68D-229A62F9EB76}" presName="negativeSpace" presStyleCnt="0"/>
      <dgm:spPr/>
    </dgm:pt>
    <dgm:pt modelId="{1DD28DFA-F2D8-5847-8C43-D80DBF465854}" type="pres">
      <dgm:prSet presAssocID="{0E822B12-0A7B-4A69-A68D-229A62F9EB76}" presName="childText" presStyleLbl="conFgAcc1" presStyleIdx="1" presStyleCnt="4">
        <dgm:presLayoutVars>
          <dgm:bulletEnabled val="1"/>
        </dgm:presLayoutVars>
      </dgm:prSet>
      <dgm:spPr/>
    </dgm:pt>
    <dgm:pt modelId="{BC71E068-73CE-DB4B-AF4A-9FE4E07992EF}" type="pres">
      <dgm:prSet presAssocID="{3305B2E9-09C7-4127-8423-A37093E2E47B}" presName="spaceBetweenRectangles" presStyleCnt="0"/>
      <dgm:spPr/>
    </dgm:pt>
    <dgm:pt modelId="{8E5A6DF4-8578-AC40-98C0-526F089F5667}" type="pres">
      <dgm:prSet presAssocID="{5740DED9-4872-4B76-BAF2-7053CC1FAF51}" presName="parentLin" presStyleCnt="0"/>
      <dgm:spPr/>
    </dgm:pt>
    <dgm:pt modelId="{50E9BF3C-5A83-914A-BC91-EBD5F12C46E0}" type="pres">
      <dgm:prSet presAssocID="{5740DED9-4872-4B76-BAF2-7053CC1FAF51}" presName="parentLeftMargin" presStyleLbl="node1" presStyleIdx="1" presStyleCnt="4"/>
      <dgm:spPr/>
    </dgm:pt>
    <dgm:pt modelId="{00C394D9-D2B9-294E-9D68-029D33283534}" type="pres">
      <dgm:prSet presAssocID="{5740DED9-4872-4B76-BAF2-7053CC1FAF51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4E644448-402D-6A41-B0DB-E1B464786948}" type="pres">
      <dgm:prSet presAssocID="{5740DED9-4872-4B76-BAF2-7053CC1FAF51}" presName="negativeSpace" presStyleCnt="0"/>
      <dgm:spPr/>
    </dgm:pt>
    <dgm:pt modelId="{ADEF01D0-7B69-DF4E-8BB2-FC1EDEBE8269}" type="pres">
      <dgm:prSet presAssocID="{5740DED9-4872-4B76-BAF2-7053CC1FAF51}" presName="childText" presStyleLbl="conFgAcc1" presStyleIdx="2" presStyleCnt="4">
        <dgm:presLayoutVars>
          <dgm:bulletEnabled val="1"/>
        </dgm:presLayoutVars>
      </dgm:prSet>
      <dgm:spPr/>
    </dgm:pt>
    <dgm:pt modelId="{DA7B8946-147C-AB43-A3DC-E8E541D53E9A}" type="pres">
      <dgm:prSet presAssocID="{3182EE68-EDCB-4EFD-AE4E-BC0B9C1E50E7}" presName="spaceBetweenRectangles" presStyleCnt="0"/>
      <dgm:spPr/>
    </dgm:pt>
    <dgm:pt modelId="{641D06C4-3767-E741-A9A1-90F964721292}" type="pres">
      <dgm:prSet presAssocID="{0F7D9B86-352F-43C6-8EBC-58FA53F590D8}" presName="parentLin" presStyleCnt="0"/>
      <dgm:spPr/>
    </dgm:pt>
    <dgm:pt modelId="{38C31579-B12D-6749-9F01-0686E4FDAC9C}" type="pres">
      <dgm:prSet presAssocID="{0F7D9B86-352F-43C6-8EBC-58FA53F590D8}" presName="parentLeftMargin" presStyleLbl="node1" presStyleIdx="2" presStyleCnt="4"/>
      <dgm:spPr/>
    </dgm:pt>
    <dgm:pt modelId="{62D1308D-D14C-CB44-AD28-EAF90E1C328E}" type="pres">
      <dgm:prSet presAssocID="{0F7D9B86-352F-43C6-8EBC-58FA53F590D8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B93BEED0-3AA2-8242-9689-CA0CB0C719E7}" type="pres">
      <dgm:prSet presAssocID="{0F7D9B86-352F-43C6-8EBC-58FA53F590D8}" presName="negativeSpace" presStyleCnt="0"/>
      <dgm:spPr/>
    </dgm:pt>
    <dgm:pt modelId="{F531D558-FD7F-A14F-B359-01E0748E3BDF}" type="pres">
      <dgm:prSet presAssocID="{0F7D9B86-352F-43C6-8EBC-58FA53F590D8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6C142E07-F73C-4133-9635-D1F61A8DF55B}" srcId="{CAC64346-4FE0-4011-8824-E919AF8B20C0}" destId="{838DC9ED-BF21-429E-8819-80CE4A79BAEB}" srcOrd="0" destOrd="0" parTransId="{541D2A09-3166-4FD8-9B07-C727659B83E5}" sibTransId="{86BE5729-35A5-4E68-8846-E18AD2A575F7}"/>
    <dgm:cxn modelId="{9701E81B-BBC7-A14A-BC89-C3CCFD7983B1}" type="presOf" srcId="{0E822B12-0A7B-4A69-A68D-229A62F9EB76}" destId="{F919650D-64A6-7243-B893-CFA552F69060}" srcOrd="0" destOrd="0" presId="urn:microsoft.com/office/officeart/2005/8/layout/list1"/>
    <dgm:cxn modelId="{266AD94B-F085-1C43-9B3C-A73AC246317B}" type="presOf" srcId="{838DC9ED-BF21-429E-8819-80CE4A79BAEB}" destId="{95A71692-C0CB-DB48-A450-502E5F907902}" srcOrd="0" destOrd="0" presId="urn:microsoft.com/office/officeart/2005/8/layout/list1"/>
    <dgm:cxn modelId="{0FC7AE59-A48F-A14E-879F-71C5E698AC2F}" type="presOf" srcId="{5740DED9-4872-4B76-BAF2-7053CC1FAF51}" destId="{50E9BF3C-5A83-914A-BC91-EBD5F12C46E0}" srcOrd="0" destOrd="0" presId="urn:microsoft.com/office/officeart/2005/8/layout/list1"/>
    <dgm:cxn modelId="{335D895B-1A39-294A-8EA7-2FE2E53ADC2E}" type="presOf" srcId="{0E822B12-0A7B-4A69-A68D-229A62F9EB76}" destId="{C73480DE-D1DD-624E-BE62-BB32D8CC69E2}" srcOrd="1" destOrd="0" presId="urn:microsoft.com/office/officeart/2005/8/layout/list1"/>
    <dgm:cxn modelId="{348F0E66-4962-471B-A2A1-8F3ED4B54A89}" srcId="{CAC64346-4FE0-4011-8824-E919AF8B20C0}" destId="{0E822B12-0A7B-4A69-A68D-229A62F9EB76}" srcOrd="1" destOrd="0" parTransId="{09AB02AA-D456-4A25-9AB7-26BDD244D930}" sibTransId="{3305B2E9-09C7-4127-8423-A37093E2E47B}"/>
    <dgm:cxn modelId="{5D7DE382-8FBD-42D2-86C5-38C164E2106E}" srcId="{CAC64346-4FE0-4011-8824-E919AF8B20C0}" destId="{0F7D9B86-352F-43C6-8EBC-58FA53F590D8}" srcOrd="3" destOrd="0" parTransId="{C1B9B842-35BD-43CB-BF39-0AE873526E9C}" sibTransId="{B27AFCE0-D875-42A4-8460-4D5B9AA40DA8}"/>
    <dgm:cxn modelId="{8F00E989-1111-B046-8B18-0E59EE04D63E}" type="presOf" srcId="{838DC9ED-BF21-429E-8819-80CE4A79BAEB}" destId="{2D472D23-40C0-C349-987E-324696C1D69F}" srcOrd="1" destOrd="0" presId="urn:microsoft.com/office/officeart/2005/8/layout/list1"/>
    <dgm:cxn modelId="{7FC7CC91-7035-5C4B-A742-E0EB5A927939}" type="presOf" srcId="{5740DED9-4872-4B76-BAF2-7053CC1FAF51}" destId="{00C394D9-D2B9-294E-9D68-029D33283534}" srcOrd="1" destOrd="0" presId="urn:microsoft.com/office/officeart/2005/8/layout/list1"/>
    <dgm:cxn modelId="{8B9C3FC7-C73E-784F-9572-EEAC2441B1DB}" type="presOf" srcId="{CAC64346-4FE0-4011-8824-E919AF8B20C0}" destId="{FD36C6A6-6033-3E4C-8DB5-56D0B16C9003}" srcOrd="0" destOrd="0" presId="urn:microsoft.com/office/officeart/2005/8/layout/list1"/>
    <dgm:cxn modelId="{123E2CF7-290A-FB44-99C0-ACF5353EDE20}" type="presOf" srcId="{0F7D9B86-352F-43C6-8EBC-58FA53F590D8}" destId="{38C31579-B12D-6749-9F01-0686E4FDAC9C}" srcOrd="0" destOrd="0" presId="urn:microsoft.com/office/officeart/2005/8/layout/list1"/>
    <dgm:cxn modelId="{943E4FF8-5241-476C-8531-663E9E3CFD65}" srcId="{CAC64346-4FE0-4011-8824-E919AF8B20C0}" destId="{5740DED9-4872-4B76-BAF2-7053CC1FAF51}" srcOrd="2" destOrd="0" parTransId="{599D9783-DA5F-451A-BAFB-CA9FFD2C2B23}" sibTransId="{3182EE68-EDCB-4EFD-AE4E-BC0B9C1E50E7}"/>
    <dgm:cxn modelId="{30592DFA-7AA0-6F4B-9E36-AB26AA5FE136}" type="presOf" srcId="{0F7D9B86-352F-43C6-8EBC-58FA53F590D8}" destId="{62D1308D-D14C-CB44-AD28-EAF90E1C328E}" srcOrd="1" destOrd="0" presId="urn:microsoft.com/office/officeart/2005/8/layout/list1"/>
    <dgm:cxn modelId="{2401A1E7-315A-1249-B779-549228BF8134}" type="presParOf" srcId="{FD36C6A6-6033-3E4C-8DB5-56D0B16C9003}" destId="{B64BD0A7-22CC-A34C-84E5-E40A82DAF5AC}" srcOrd="0" destOrd="0" presId="urn:microsoft.com/office/officeart/2005/8/layout/list1"/>
    <dgm:cxn modelId="{6BFCF1C4-B31A-5B40-9643-F109A4F8D792}" type="presParOf" srcId="{B64BD0A7-22CC-A34C-84E5-E40A82DAF5AC}" destId="{95A71692-C0CB-DB48-A450-502E5F907902}" srcOrd="0" destOrd="0" presId="urn:microsoft.com/office/officeart/2005/8/layout/list1"/>
    <dgm:cxn modelId="{66D67D40-80D4-3743-B7EE-96BCFC230CE8}" type="presParOf" srcId="{B64BD0A7-22CC-A34C-84E5-E40A82DAF5AC}" destId="{2D472D23-40C0-C349-987E-324696C1D69F}" srcOrd="1" destOrd="0" presId="urn:microsoft.com/office/officeart/2005/8/layout/list1"/>
    <dgm:cxn modelId="{8097E6EC-3E2A-DC42-A979-67D516F0671C}" type="presParOf" srcId="{FD36C6A6-6033-3E4C-8DB5-56D0B16C9003}" destId="{5BF8113F-26DF-7941-9AD5-6AECA127DB7A}" srcOrd="1" destOrd="0" presId="urn:microsoft.com/office/officeart/2005/8/layout/list1"/>
    <dgm:cxn modelId="{4F620A9F-B0C4-2049-87B1-86BA842EC763}" type="presParOf" srcId="{FD36C6A6-6033-3E4C-8DB5-56D0B16C9003}" destId="{997749B4-F079-DD48-9C2F-0593BA510093}" srcOrd="2" destOrd="0" presId="urn:microsoft.com/office/officeart/2005/8/layout/list1"/>
    <dgm:cxn modelId="{9F00342B-FDF1-3246-9EB4-34C46AAA003C}" type="presParOf" srcId="{FD36C6A6-6033-3E4C-8DB5-56D0B16C9003}" destId="{AD0B692E-7C8A-754B-9CD7-9BBF18C5095A}" srcOrd="3" destOrd="0" presId="urn:microsoft.com/office/officeart/2005/8/layout/list1"/>
    <dgm:cxn modelId="{AC36B958-A91D-594A-9F5E-4A230A95C623}" type="presParOf" srcId="{FD36C6A6-6033-3E4C-8DB5-56D0B16C9003}" destId="{557C56B5-5E7A-FC43-B6E8-C424A1591FFD}" srcOrd="4" destOrd="0" presId="urn:microsoft.com/office/officeart/2005/8/layout/list1"/>
    <dgm:cxn modelId="{09E68F83-4785-D640-A04E-CA2DC221A09A}" type="presParOf" srcId="{557C56B5-5E7A-FC43-B6E8-C424A1591FFD}" destId="{F919650D-64A6-7243-B893-CFA552F69060}" srcOrd="0" destOrd="0" presId="urn:microsoft.com/office/officeart/2005/8/layout/list1"/>
    <dgm:cxn modelId="{20B856BA-7823-7D43-87D0-2944F331DE81}" type="presParOf" srcId="{557C56B5-5E7A-FC43-B6E8-C424A1591FFD}" destId="{C73480DE-D1DD-624E-BE62-BB32D8CC69E2}" srcOrd="1" destOrd="0" presId="urn:microsoft.com/office/officeart/2005/8/layout/list1"/>
    <dgm:cxn modelId="{4F518502-6F5D-0844-8076-7E4D51B3E6EA}" type="presParOf" srcId="{FD36C6A6-6033-3E4C-8DB5-56D0B16C9003}" destId="{A98E30C8-A334-8542-A076-F1058AEE102E}" srcOrd="5" destOrd="0" presId="urn:microsoft.com/office/officeart/2005/8/layout/list1"/>
    <dgm:cxn modelId="{3665109E-48A6-0B47-BC73-D206ACB72BD0}" type="presParOf" srcId="{FD36C6A6-6033-3E4C-8DB5-56D0B16C9003}" destId="{1DD28DFA-F2D8-5847-8C43-D80DBF465854}" srcOrd="6" destOrd="0" presId="urn:microsoft.com/office/officeart/2005/8/layout/list1"/>
    <dgm:cxn modelId="{ED269C95-E4F2-9D4E-9B3C-DF72D076CEFD}" type="presParOf" srcId="{FD36C6A6-6033-3E4C-8DB5-56D0B16C9003}" destId="{BC71E068-73CE-DB4B-AF4A-9FE4E07992EF}" srcOrd="7" destOrd="0" presId="urn:microsoft.com/office/officeart/2005/8/layout/list1"/>
    <dgm:cxn modelId="{7D7BC891-0881-304A-BD61-559747018307}" type="presParOf" srcId="{FD36C6A6-6033-3E4C-8DB5-56D0B16C9003}" destId="{8E5A6DF4-8578-AC40-98C0-526F089F5667}" srcOrd="8" destOrd="0" presId="urn:microsoft.com/office/officeart/2005/8/layout/list1"/>
    <dgm:cxn modelId="{D507991C-5676-1542-98D5-F16AF229DE54}" type="presParOf" srcId="{8E5A6DF4-8578-AC40-98C0-526F089F5667}" destId="{50E9BF3C-5A83-914A-BC91-EBD5F12C46E0}" srcOrd="0" destOrd="0" presId="urn:microsoft.com/office/officeart/2005/8/layout/list1"/>
    <dgm:cxn modelId="{467EA8DF-27C4-D744-82E9-F7919CA4E38C}" type="presParOf" srcId="{8E5A6DF4-8578-AC40-98C0-526F089F5667}" destId="{00C394D9-D2B9-294E-9D68-029D33283534}" srcOrd="1" destOrd="0" presId="urn:microsoft.com/office/officeart/2005/8/layout/list1"/>
    <dgm:cxn modelId="{65DCA8C3-789F-164F-B651-1E2FC4238379}" type="presParOf" srcId="{FD36C6A6-6033-3E4C-8DB5-56D0B16C9003}" destId="{4E644448-402D-6A41-B0DB-E1B464786948}" srcOrd="9" destOrd="0" presId="urn:microsoft.com/office/officeart/2005/8/layout/list1"/>
    <dgm:cxn modelId="{3D17B2A9-9DE8-5A44-9F1B-0DDC7883D5DE}" type="presParOf" srcId="{FD36C6A6-6033-3E4C-8DB5-56D0B16C9003}" destId="{ADEF01D0-7B69-DF4E-8BB2-FC1EDEBE8269}" srcOrd="10" destOrd="0" presId="urn:microsoft.com/office/officeart/2005/8/layout/list1"/>
    <dgm:cxn modelId="{3B883B2F-BB7C-1447-B4C9-78B1C14755F1}" type="presParOf" srcId="{FD36C6A6-6033-3E4C-8DB5-56D0B16C9003}" destId="{DA7B8946-147C-AB43-A3DC-E8E541D53E9A}" srcOrd="11" destOrd="0" presId="urn:microsoft.com/office/officeart/2005/8/layout/list1"/>
    <dgm:cxn modelId="{D2228ABC-FBF0-7142-BB5D-CD18CCFC01AB}" type="presParOf" srcId="{FD36C6A6-6033-3E4C-8DB5-56D0B16C9003}" destId="{641D06C4-3767-E741-A9A1-90F964721292}" srcOrd="12" destOrd="0" presId="urn:microsoft.com/office/officeart/2005/8/layout/list1"/>
    <dgm:cxn modelId="{268F0454-D131-564A-8D0E-EA412B8FC992}" type="presParOf" srcId="{641D06C4-3767-E741-A9A1-90F964721292}" destId="{38C31579-B12D-6749-9F01-0686E4FDAC9C}" srcOrd="0" destOrd="0" presId="urn:microsoft.com/office/officeart/2005/8/layout/list1"/>
    <dgm:cxn modelId="{49676CB6-FC5E-FD48-843E-86BFDE3EAA4F}" type="presParOf" srcId="{641D06C4-3767-E741-A9A1-90F964721292}" destId="{62D1308D-D14C-CB44-AD28-EAF90E1C328E}" srcOrd="1" destOrd="0" presId="urn:microsoft.com/office/officeart/2005/8/layout/list1"/>
    <dgm:cxn modelId="{A5BD08C7-7A67-994C-8C9E-3C3592ADC395}" type="presParOf" srcId="{FD36C6A6-6033-3E4C-8DB5-56D0B16C9003}" destId="{B93BEED0-3AA2-8242-9689-CA0CB0C719E7}" srcOrd="13" destOrd="0" presId="urn:microsoft.com/office/officeart/2005/8/layout/list1"/>
    <dgm:cxn modelId="{7A924A86-5463-0B4A-B9D7-86F5930E790F}" type="presParOf" srcId="{FD36C6A6-6033-3E4C-8DB5-56D0B16C9003}" destId="{F531D558-FD7F-A14F-B359-01E0748E3BD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6F52EA7-A396-40F9-9D2E-10EF6AA50F2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8B1F57B-F4A4-4F19-861D-1A73675BB1ED}">
      <dgm:prSet/>
      <dgm:spPr/>
      <dgm:t>
        <a:bodyPr/>
        <a:lstStyle/>
        <a:p>
          <a:r>
            <a:rPr lang="en-US"/>
            <a:t>ALPHA 1 –  LOCATED ON IRIS DILATOR MUSCLE</a:t>
          </a:r>
        </a:p>
      </dgm:t>
    </dgm:pt>
    <dgm:pt modelId="{AF349DA7-59AD-437D-B3F7-D3F4A8B9E0D6}" type="parTrans" cxnId="{0B6A5BAA-D0CB-4936-BD44-B5F23704A9C3}">
      <dgm:prSet/>
      <dgm:spPr/>
      <dgm:t>
        <a:bodyPr/>
        <a:lstStyle/>
        <a:p>
          <a:endParaRPr lang="en-US"/>
        </a:p>
      </dgm:t>
    </dgm:pt>
    <dgm:pt modelId="{B28D40C0-84A7-4261-8581-1139E2605D05}" type="sibTrans" cxnId="{0B6A5BAA-D0CB-4936-BD44-B5F23704A9C3}">
      <dgm:prSet/>
      <dgm:spPr/>
      <dgm:t>
        <a:bodyPr/>
        <a:lstStyle/>
        <a:p>
          <a:endParaRPr lang="en-US"/>
        </a:p>
      </dgm:t>
    </dgm:pt>
    <dgm:pt modelId="{0EC70434-8EAD-4110-BA54-E3BA3F5CBABA}">
      <dgm:prSet/>
      <dgm:spPr/>
      <dgm:t>
        <a:bodyPr/>
        <a:lstStyle/>
        <a:p>
          <a:r>
            <a:rPr lang="en-US"/>
            <a:t>VASOCONSTRICTION</a:t>
          </a:r>
        </a:p>
      </dgm:t>
    </dgm:pt>
    <dgm:pt modelId="{5F615076-834A-483D-83A4-DEAE39D39A7D}" type="parTrans" cxnId="{FFF89A80-DFF4-4701-8B28-9BA14D7F4F6E}">
      <dgm:prSet/>
      <dgm:spPr/>
      <dgm:t>
        <a:bodyPr/>
        <a:lstStyle/>
        <a:p>
          <a:endParaRPr lang="en-US"/>
        </a:p>
      </dgm:t>
    </dgm:pt>
    <dgm:pt modelId="{9963018F-8AD9-46B0-B94D-E1E8AFB9A63A}" type="sibTrans" cxnId="{FFF89A80-DFF4-4701-8B28-9BA14D7F4F6E}">
      <dgm:prSet/>
      <dgm:spPr/>
      <dgm:t>
        <a:bodyPr/>
        <a:lstStyle/>
        <a:p>
          <a:endParaRPr lang="en-US"/>
        </a:p>
      </dgm:t>
    </dgm:pt>
    <dgm:pt modelId="{F8B66B45-FEC1-4F56-B448-232165F1BE80}">
      <dgm:prSet/>
      <dgm:spPr/>
      <dgm:t>
        <a:bodyPr/>
        <a:lstStyle/>
        <a:p>
          <a:r>
            <a:rPr lang="en-US"/>
            <a:t>ALPHA 2 - CONSTRICT CILIARY VASCULARATURE TO REDUCE AQUEOUS PRODUCTION</a:t>
          </a:r>
        </a:p>
      </dgm:t>
    </dgm:pt>
    <dgm:pt modelId="{BBC63ADB-85E1-43C2-BFDF-68041059BEA8}" type="parTrans" cxnId="{C76F8EFA-2E02-4315-8E9E-74ED587EF715}">
      <dgm:prSet/>
      <dgm:spPr/>
      <dgm:t>
        <a:bodyPr/>
        <a:lstStyle/>
        <a:p>
          <a:endParaRPr lang="en-US"/>
        </a:p>
      </dgm:t>
    </dgm:pt>
    <dgm:pt modelId="{0676D63C-121B-409E-9847-1FD54AFB63D6}" type="sibTrans" cxnId="{C76F8EFA-2E02-4315-8E9E-74ED587EF715}">
      <dgm:prSet/>
      <dgm:spPr/>
      <dgm:t>
        <a:bodyPr/>
        <a:lstStyle/>
        <a:p>
          <a:endParaRPr lang="en-US"/>
        </a:p>
      </dgm:t>
    </dgm:pt>
    <dgm:pt modelId="{6DDD744C-8379-45DE-892D-075BB69FCB19}">
      <dgm:prSet/>
      <dgm:spPr/>
      <dgm:t>
        <a:bodyPr/>
        <a:lstStyle/>
        <a:p>
          <a:r>
            <a:rPr lang="en-US"/>
            <a:t>VASOCONSTRICTION</a:t>
          </a:r>
        </a:p>
      </dgm:t>
    </dgm:pt>
    <dgm:pt modelId="{17BE0F80-95E2-4318-AE40-BC7A9D8E8E68}" type="parTrans" cxnId="{71044050-0457-41D5-850F-2D54D1475DD7}">
      <dgm:prSet/>
      <dgm:spPr/>
      <dgm:t>
        <a:bodyPr/>
        <a:lstStyle/>
        <a:p>
          <a:endParaRPr lang="en-US"/>
        </a:p>
      </dgm:t>
    </dgm:pt>
    <dgm:pt modelId="{D6945F85-A528-4841-A76D-420322CCD70C}" type="sibTrans" cxnId="{71044050-0457-41D5-850F-2D54D1475DD7}">
      <dgm:prSet/>
      <dgm:spPr/>
      <dgm:t>
        <a:bodyPr/>
        <a:lstStyle/>
        <a:p>
          <a:endParaRPr lang="en-US"/>
        </a:p>
      </dgm:t>
    </dgm:pt>
    <dgm:pt modelId="{E8EDDD39-8984-4CDD-81B8-1D0E58A383E1}">
      <dgm:prSet/>
      <dgm:spPr/>
      <dgm:t>
        <a:bodyPr/>
        <a:lstStyle/>
        <a:p>
          <a:r>
            <a:rPr lang="en-US"/>
            <a:t>MUELLER’S MUSCLE </a:t>
          </a:r>
        </a:p>
      </dgm:t>
    </dgm:pt>
    <dgm:pt modelId="{D68BDECC-4BEC-457F-8CBC-793DBE1D2A2C}" type="parTrans" cxnId="{7B6D122E-507F-4C9F-AB4B-B4650E5ABE00}">
      <dgm:prSet/>
      <dgm:spPr/>
      <dgm:t>
        <a:bodyPr/>
        <a:lstStyle/>
        <a:p>
          <a:endParaRPr lang="en-US"/>
        </a:p>
      </dgm:t>
    </dgm:pt>
    <dgm:pt modelId="{63A66887-F5F7-4C15-8866-81A01171A7FE}" type="sibTrans" cxnId="{7B6D122E-507F-4C9F-AB4B-B4650E5ABE00}">
      <dgm:prSet/>
      <dgm:spPr/>
      <dgm:t>
        <a:bodyPr/>
        <a:lstStyle/>
        <a:p>
          <a:endParaRPr lang="en-US"/>
        </a:p>
      </dgm:t>
    </dgm:pt>
    <dgm:pt modelId="{AC4E6765-36CA-40FB-A1A5-89CF76DB0186}">
      <dgm:prSet/>
      <dgm:spPr/>
      <dgm:t>
        <a:bodyPr/>
        <a:lstStyle/>
        <a:p>
          <a:r>
            <a:rPr lang="en-US"/>
            <a:t>BETA 2 – LOCATED ON NPCE, ENHANCES AQUEOUS SECREATION VIA ACTIVE SECRETION</a:t>
          </a:r>
        </a:p>
      </dgm:t>
    </dgm:pt>
    <dgm:pt modelId="{EE4A2448-D9C7-4E65-8E3C-D59A0C7A2944}" type="parTrans" cxnId="{0F0E6867-6E11-4EF7-99CC-6B51C416EBD2}">
      <dgm:prSet/>
      <dgm:spPr/>
      <dgm:t>
        <a:bodyPr/>
        <a:lstStyle/>
        <a:p>
          <a:endParaRPr lang="en-US"/>
        </a:p>
      </dgm:t>
    </dgm:pt>
    <dgm:pt modelId="{1F814C8F-F417-4BDF-B3E2-EB0A676F466A}" type="sibTrans" cxnId="{0F0E6867-6E11-4EF7-99CC-6B51C416EBD2}">
      <dgm:prSet/>
      <dgm:spPr/>
      <dgm:t>
        <a:bodyPr/>
        <a:lstStyle/>
        <a:p>
          <a:endParaRPr lang="en-US"/>
        </a:p>
      </dgm:t>
    </dgm:pt>
    <dgm:pt modelId="{46622AE2-F235-074B-B307-4657BACD8B45}" type="pres">
      <dgm:prSet presAssocID="{E6F52EA7-A396-40F9-9D2E-10EF6AA50F28}" presName="Name0" presStyleCnt="0">
        <dgm:presLayoutVars>
          <dgm:dir/>
          <dgm:animLvl val="lvl"/>
          <dgm:resizeHandles val="exact"/>
        </dgm:presLayoutVars>
      </dgm:prSet>
      <dgm:spPr/>
    </dgm:pt>
    <dgm:pt modelId="{6049598C-6B4D-874A-BB56-BB4EBB15426D}" type="pres">
      <dgm:prSet presAssocID="{78B1F57B-F4A4-4F19-861D-1A73675BB1ED}" presName="composite" presStyleCnt="0"/>
      <dgm:spPr/>
    </dgm:pt>
    <dgm:pt modelId="{072BBF78-186C-9344-ADD1-E44B06C16B3B}" type="pres">
      <dgm:prSet presAssocID="{78B1F57B-F4A4-4F19-861D-1A73675BB1ED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32253E0D-66EB-C24E-A27F-33DFC8D630FD}" type="pres">
      <dgm:prSet presAssocID="{78B1F57B-F4A4-4F19-861D-1A73675BB1ED}" presName="desTx" presStyleLbl="alignAccFollowNode1" presStyleIdx="0" presStyleCnt="3">
        <dgm:presLayoutVars>
          <dgm:bulletEnabled val="1"/>
        </dgm:presLayoutVars>
      </dgm:prSet>
      <dgm:spPr/>
    </dgm:pt>
    <dgm:pt modelId="{8AFA0018-C1F3-C643-AF54-39AC5AF98156}" type="pres">
      <dgm:prSet presAssocID="{B28D40C0-84A7-4261-8581-1139E2605D05}" presName="space" presStyleCnt="0"/>
      <dgm:spPr/>
    </dgm:pt>
    <dgm:pt modelId="{2F87906C-9658-B94E-AD2C-181F5D28F9A7}" type="pres">
      <dgm:prSet presAssocID="{F8B66B45-FEC1-4F56-B448-232165F1BE80}" presName="composite" presStyleCnt="0"/>
      <dgm:spPr/>
    </dgm:pt>
    <dgm:pt modelId="{24C52C17-756F-8A41-AF52-BC5F28FB95F4}" type="pres">
      <dgm:prSet presAssocID="{F8B66B45-FEC1-4F56-B448-232165F1BE80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FBA50DD3-C4C0-014C-8E50-4C7F86B47613}" type="pres">
      <dgm:prSet presAssocID="{F8B66B45-FEC1-4F56-B448-232165F1BE80}" presName="desTx" presStyleLbl="alignAccFollowNode1" presStyleIdx="1" presStyleCnt="3">
        <dgm:presLayoutVars>
          <dgm:bulletEnabled val="1"/>
        </dgm:presLayoutVars>
      </dgm:prSet>
      <dgm:spPr/>
    </dgm:pt>
    <dgm:pt modelId="{F9E1D028-4AAB-BB40-871E-98234510F28A}" type="pres">
      <dgm:prSet presAssocID="{0676D63C-121B-409E-9847-1FD54AFB63D6}" presName="space" presStyleCnt="0"/>
      <dgm:spPr/>
    </dgm:pt>
    <dgm:pt modelId="{73A13D20-7451-B94D-893E-801323D1DF91}" type="pres">
      <dgm:prSet presAssocID="{AC4E6765-36CA-40FB-A1A5-89CF76DB0186}" presName="composite" presStyleCnt="0"/>
      <dgm:spPr/>
    </dgm:pt>
    <dgm:pt modelId="{E0556E64-FB74-1D44-86E1-10E6080C17B2}" type="pres">
      <dgm:prSet presAssocID="{AC4E6765-36CA-40FB-A1A5-89CF76DB0186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3ED326A9-2337-C140-A50C-16EB3BE2B379}" type="pres">
      <dgm:prSet presAssocID="{AC4E6765-36CA-40FB-A1A5-89CF76DB0186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7B6D122E-507F-4C9F-AB4B-B4650E5ABE00}" srcId="{F8B66B45-FEC1-4F56-B448-232165F1BE80}" destId="{E8EDDD39-8984-4CDD-81B8-1D0E58A383E1}" srcOrd="1" destOrd="0" parTransId="{D68BDECC-4BEC-457F-8CBC-793DBE1D2A2C}" sibTransId="{63A66887-F5F7-4C15-8866-81A01171A7FE}"/>
    <dgm:cxn modelId="{23E4B138-3EF0-FA40-96F1-065136F7F913}" type="presOf" srcId="{6DDD744C-8379-45DE-892D-075BB69FCB19}" destId="{FBA50DD3-C4C0-014C-8E50-4C7F86B47613}" srcOrd="0" destOrd="0" presId="urn:microsoft.com/office/officeart/2005/8/layout/hList1"/>
    <dgm:cxn modelId="{71044050-0457-41D5-850F-2D54D1475DD7}" srcId="{F8B66B45-FEC1-4F56-B448-232165F1BE80}" destId="{6DDD744C-8379-45DE-892D-075BB69FCB19}" srcOrd="0" destOrd="0" parTransId="{17BE0F80-95E2-4318-AE40-BC7A9D8E8E68}" sibTransId="{D6945F85-A528-4841-A76D-420322CCD70C}"/>
    <dgm:cxn modelId="{0F0E6867-6E11-4EF7-99CC-6B51C416EBD2}" srcId="{E6F52EA7-A396-40F9-9D2E-10EF6AA50F28}" destId="{AC4E6765-36CA-40FB-A1A5-89CF76DB0186}" srcOrd="2" destOrd="0" parTransId="{EE4A2448-D9C7-4E65-8E3C-D59A0C7A2944}" sibTransId="{1F814C8F-F417-4BDF-B3E2-EB0A676F466A}"/>
    <dgm:cxn modelId="{FFF89A80-DFF4-4701-8B28-9BA14D7F4F6E}" srcId="{78B1F57B-F4A4-4F19-861D-1A73675BB1ED}" destId="{0EC70434-8EAD-4110-BA54-E3BA3F5CBABA}" srcOrd="0" destOrd="0" parTransId="{5F615076-834A-483D-83A4-DEAE39D39A7D}" sibTransId="{9963018F-8AD9-46B0-B94D-E1E8AFB9A63A}"/>
    <dgm:cxn modelId="{F0438994-07C4-0249-8DC2-6297B8461030}" type="presOf" srcId="{0EC70434-8EAD-4110-BA54-E3BA3F5CBABA}" destId="{32253E0D-66EB-C24E-A27F-33DFC8D630FD}" srcOrd="0" destOrd="0" presId="urn:microsoft.com/office/officeart/2005/8/layout/hList1"/>
    <dgm:cxn modelId="{4E08419E-E343-7C4C-8E5E-7954BA076C45}" type="presOf" srcId="{E6F52EA7-A396-40F9-9D2E-10EF6AA50F28}" destId="{46622AE2-F235-074B-B307-4657BACD8B45}" srcOrd="0" destOrd="0" presId="urn:microsoft.com/office/officeart/2005/8/layout/hList1"/>
    <dgm:cxn modelId="{1C8907A5-ED1E-FB47-9646-78E80E06D97C}" type="presOf" srcId="{E8EDDD39-8984-4CDD-81B8-1D0E58A383E1}" destId="{FBA50DD3-C4C0-014C-8E50-4C7F86B47613}" srcOrd="0" destOrd="1" presId="urn:microsoft.com/office/officeart/2005/8/layout/hList1"/>
    <dgm:cxn modelId="{0B6A5BAA-D0CB-4936-BD44-B5F23704A9C3}" srcId="{E6F52EA7-A396-40F9-9D2E-10EF6AA50F28}" destId="{78B1F57B-F4A4-4F19-861D-1A73675BB1ED}" srcOrd="0" destOrd="0" parTransId="{AF349DA7-59AD-437D-B3F7-D3F4A8B9E0D6}" sibTransId="{B28D40C0-84A7-4261-8581-1139E2605D05}"/>
    <dgm:cxn modelId="{7CD79DD6-DBB2-FE4C-97D5-DA3228BF7DDA}" type="presOf" srcId="{AC4E6765-36CA-40FB-A1A5-89CF76DB0186}" destId="{E0556E64-FB74-1D44-86E1-10E6080C17B2}" srcOrd="0" destOrd="0" presId="urn:microsoft.com/office/officeart/2005/8/layout/hList1"/>
    <dgm:cxn modelId="{62A407D8-6933-C643-8F79-803D5BB98D36}" type="presOf" srcId="{78B1F57B-F4A4-4F19-861D-1A73675BB1ED}" destId="{072BBF78-186C-9344-ADD1-E44B06C16B3B}" srcOrd="0" destOrd="0" presId="urn:microsoft.com/office/officeart/2005/8/layout/hList1"/>
    <dgm:cxn modelId="{C76F8EFA-2E02-4315-8E9E-74ED587EF715}" srcId="{E6F52EA7-A396-40F9-9D2E-10EF6AA50F28}" destId="{F8B66B45-FEC1-4F56-B448-232165F1BE80}" srcOrd="1" destOrd="0" parTransId="{BBC63ADB-85E1-43C2-BFDF-68041059BEA8}" sibTransId="{0676D63C-121B-409E-9847-1FD54AFB63D6}"/>
    <dgm:cxn modelId="{321D83FF-F834-F742-A593-3F6BE42F27AC}" type="presOf" srcId="{F8B66B45-FEC1-4F56-B448-232165F1BE80}" destId="{24C52C17-756F-8A41-AF52-BC5F28FB95F4}" srcOrd="0" destOrd="0" presId="urn:microsoft.com/office/officeart/2005/8/layout/hList1"/>
    <dgm:cxn modelId="{709A70CF-87FC-0F4C-8F6C-BBE7987A4336}" type="presParOf" srcId="{46622AE2-F235-074B-B307-4657BACD8B45}" destId="{6049598C-6B4D-874A-BB56-BB4EBB15426D}" srcOrd="0" destOrd="0" presId="urn:microsoft.com/office/officeart/2005/8/layout/hList1"/>
    <dgm:cxn modelId="{250EBD50-DF99-D145-A283-C8E0FE6E61C7}" type="presParOf" srcId="{6049598C-6B4D-874A-BB56-BB4EBB15426D}" destId="{072BBF78-186C-9344-ADD1-E44B06C16B3B}" srcOrd="0" destOrd="0" presId="urn:microsoft.com/office/officeart/2005/8/layout/hList1"/>
    <dgm:cxn modelId="{7F806894-AA21-EF48-842F-05CE74F0319F}" type="presParOf" srcId="{6049598C-6B4D-874A-BB56-BB4EBB15426D}" destId="{32253E0D-66EB-C24E-A27F-33DFC8D630FD}" srcOrd="1" destOrd="0" presId="urn:microsoft.com/office/officeart/2005/8/layout/hList1"/>
    <dgm:cxn modelId="{E017FFF3-8CEB-484F-AA6D-62FA93B6BD48}" type="presParOf" srcId="{46622AE2-F235-074B-B307-4657BACD8B45}" destId="{8AFA0018-C1F3-C643-AF54-39AC5AF98156}" srcOrd="1" destOrd="0" presId="urn:microsoft.com/office/officeart/2005/8/layout/hList1"/>
    <dgm:cxn modelId="{E43D7EF7-2870-3942-842D-F13443C6DC62}" type="presParOf" srcId="{46622AE2-F235-074B-B307-4657BACD8B45}" destId="{2F87906C-9658-B94E-AD2C-181F5D28F9A7}" srcOrd="2" destOrd="0" presId="urn:microsoft.com/office/officeart/2005/8/layout/hList1"/>
    <dgm:cxn modelId="{E5AF91D1-D71C-FD4F-9B5D-3D28575EA994}" type="presParOf" srcId="{2F87906C-9658-B94E-AD2C-181F5D28F9A7}" destId="{24C52C17-756F-8A41-AF52-BC5F28FB95F4}" srcOrd="0" destOrd="0" presId="urn:microsoft.com/office/officeart/2005/8/layout/hList1"/>
    <dgm:cxn modelId="{C8730495-D2A2-1D45-A288-E46E0D53D30F}" type="presParOf" srcId="{2F87906C-9658-B94E-AD2C-181F5D28F9A7}" destId="{FBA50DD3-C4C0-014C-8E50-4C7F86B47613}" srcOrd="1" destOrd="0" presId="urn:microsoft.com/office/officeart/2005/8/layout/hList1"/>
    <dgm:cxn modelId="{C8E46ACC-08A0-AD4A-94CA-677A51D59132}" type="presParOf" srcId="{46622AE2-F235-074B-B307-4657BACD8B45}" destId="{F9E1D028-4AAB-BB40-871E-98234510F28A}" srcOrd="3" destOrd="0" presId="urn:microsoft.com/office/officeart/2005/8/layout/hList1"/>
    <dgm:cxn modelId="{DFB8C4E4-B6DA-E348-B1C1-71BA7585BBF2}" type="presParOf" srcId="{46622AE2-F235-074B-B307-4657BACD8B45}" destId="{73A13D20-7451-B94D-893E-801323D1DF91}" srcOrd="4" destOrd="0" presId="urn:microsoft.com/office/officeart/2005/8/layout/hList1"/>
    <dgm:cxn modelId="{758BCEBE-A89D-B341-B783-8D7F1E2B7DE3}" type="presParOf" srcId="{73A13D20-7451-B94D-893E-801323D1DF91}" destId="{E0556E64-FB74-1D44-86E1-10E6080C17B2}" srcOrd="0" destOrd="0" presId="urn:microsoft.com/office/officeart/2005/8/layout/hList1"/>
    <dgm:cxn modelId="{BDEBE022-D8AE-4347-B917-D0F5238D0EFD}" type="presParOf" srcId="{73A13D20-7451-B94D-893E-801323D1DF91}" destId="{3ED326A9-2337-C140-A50C-16EB3BE2B37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3ACCC90-AD6E-4322-8C98-0AC9F7E706E7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65D96850-2F87-4FE2-B900-E84DFA7D25B6}">
      <dgm:prSet/>
      <dgm:spPr/>
      <dgm:t>
        <a:bodyPr/>
        <a:lstStyle/>
        <a:p>
          <a:r>
            <a:rPr lang="en-US"/>
            <a:t>DECREASE AQUEOUS PRODUCTION</a:t>
          </a:r>
        </a:p>
      </dgm:t>
    </dgm:pt>
    <dgm:pt modelId="{5FCF6766-89F2-4267-B838-C0A4387F9B26}" type="parTrans" cxnId="{6A91768A-6AA9-43A8-93E0-6EB751A54F77}">
      <dgm:prSet/>
      <dgm:spPr/>
      <dgm:t>
        <a:bodyPr/>
        <a:lstStyle/>
        <a:p>
          <a:endParaRPr lang="en-US"/>
        </a:p>
      </dgm:t>
    </dgm:pt>
    <dgm:pt modelId="{2DC6BE31-7340-4969-BC43-D729AA5FB0CA}" type="sibTrans" cxnId="{6A91768A-6AA9-43A8-93E0-6EB751A54F77}">
      <dgm:prSet/>
      <dgm:spPr/>
      <dgm:t>
        <a:bodyPr/>
        <a:lstStyle/>
        <a:p>
          <a:endParaRPr lang="en-US"/>
        </a:p>
      </dgm:t>
    </dgm:pt>
    <dgm:pt modelId="{CFD0C8DB-AE84-496C-BCC5-376E203E6A8E}">
      <dgm:prSet/>
      <dgm:spPr/>
      <dgm:t>
        <a:bodyPr/>
        <a:lstStyle/>
        <a:p>
          <a:r>
            <a:rPr lang="en-US"/>
            <a:t>BURNING, METALLIC TASTE</a:t>
          </a:r>
        </a:p>
      </dgm:t>
    </dgm:pt>
    <dgm:pt modelId="{D243EB0E-B5E1-445E-B1AC-342DD58953CD}" type="parTrans" cxnId="{4E148146-FA6A-4D1E-82FE-1D59AFEB9E3B}">
      <dgm:prSet/>
      <dgm:spPr/>
      <dgm:t>
        <a:bodyPr/>
        <a:lstStyle/>
        <a:p>
          <a:endParaRPr lang="en-US"/>
        </a:p>
      </dgm:t>
    </dgm:pt>
    <dgm:pt modelId="{2F118A12-96EA-471A-8814-B97D57F44C65}" type="sibTrans" cxnId="{4E148146-FA6A-4D1E-82FE-1D59AFEB9E3B}">
      <dgm:prSet/>
      <dgm:spPr/>
      <dgm:t>
        <a:bodyPr/>
        <a:lstStyle/>
        <a:p>
          <a:endParaRPr lang="en-US"/>
        </a:p>
      </dgm:t>
    </dgm:pt>
    <dgm:pt modelId="{FD9613FA-3E3E-4A7C-86E3-426277EA9F6B}">
      <dgm:prSet/>
      <dgm:spPr/>
      <dgm:t>
        <a:bodyPr/>
        <a:lstStyle/>
        <a:p>
          <a:r>
            <a:rPr lang="en-US"/>
            <a:t>SULFA ALLERGY</a:t>
          </a:r>
        </a:p>
      </dgm:t>
    </dgm:pt>
    <dgm:pt modelId="{4CAA5AE8-3788-47EB-B7D8-4AE2D690131D}" type="parTrans" cxnId="{730DB865-3B1D-4087-8D48-1F3E50CEA8BD}">
      <dgm:prSet/>
      <dgm:spPr/>
      <dgm:t>
        <a:bodyPr/>
        <a:lstStyle/>
        <a:p>
          <a:endParaRPr lang="en-US"/>
        </a:p>
      </dgm:t>
    </dgm:pt>
    <dgm:pt modelId="{7B6166B4-F179-4DA4-9373-BC3287AC109A}" type="sibTrans" cxnId="{730DB865-3B1D-4087-8D48-1F3E50CEA8BD}">
      <dgm:prSet/>
      <dgm:spPr/>
      <dgm:t>
        <a:bodyPr/>
        <a:lstStyle/>
        <a:p>
          <a:endParaRPr lang="en-US"/>
        </a:p>
      </dgm:t>
    </dgm:pt>
    <dgm:pt modelId="{3D14F47D-B3BA-4D48-A158-F687126D1BFA}" type="pres">
      <dgm:prSet presAssocID="{D3ACCC90-AD6E-4322-8C98-0AC9F7E706E7}" presName="linear" presStyleCnt="0">
        <dgm:presLayoutVars>
          <dgm:animLvl val="lvl"/>
          <dgm:resizeHandles val="exact"/>
        </dgm:presLayoutVars>
      </dgm:prSet>
      <dgm:spPr/>
    </dgm:pt>
    <dgm:pt modelId="{9EAE6BCD-7296-504D-AAEF-677793C03118}" type="pres">
      <dgm:prSet presAssocID="{65D96850-2F87-4FE2-B900-E84DFA7D25B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56C1822-9B4D-4D4F-9790-CEE2143FAB4D}" type="pres">
      <dgm:prSet presAssocID="{2DC6BE31-7340-4969-BC43-D729AA5FB0CA}" presName="spacer" presStyleCnt="0"/>
      <dgm:spPr/>
    </dgm:pt>
    <dgm:pt modelId="{793271C6-123A-F649-A57C-C24FBCB45C64}" type="pres">
      <dgm:prSet presAssocID="{CFD0C8DB-AE84-496C-BCC5-376E203E6A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D663DB8A-7A4F-894E-BD4B-DB7A2F4C33E5}" type="pres">
      <dgm:prSet presAssocID="{2F118A12-96EA-471A-8814-B97D57F44C65}" presName="spacer" presStyleCnt="0"/>
      <dgm:spPr/>
    </dgm:pt>
    <dgm:pt modelId="{1C5D8B40-6BCD-204A-BBF1-1D9FF219ADB4}" type="pres">
      <dgm:prSet presAssocID="{FD9613FA-3E3E-4A7C-86E3-426277EA9F6B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F6436315-341F-774D-B02F-41AB98A17F2C}" type="presOf" srcId="{FD9613FA-3E3E-4A7C-86E3-426277EA9F6B}" destId="{1C5D8B40-6BCD-204A-BBF1-1D9FF219ADB4}" srcOrd="0" destOrd="0" presId="urn:microsoft.com/office/officeart/2005/8/layout/vList2"/>
    <dgm:cxn modelId="{99D39C15-1EEA-214D-A78E-21E85F12A9A8}" type="presOf" srcId="{65D96850-2F87-4FE2-B900-E84DFA7D25B6}" destId="{9EAE6BCD-7296-504D-AAEF-677793C03118}" srcOrd="0" destOrd="0" presId="urn:microsoft.com/office/officeart/2005/8/layout/vList2"/>
    <dgm:cxn modelId="{4E148146-FA6A-4D1E-82FE-1D59AFEB9E3B}" srcId="{D3ACCC90-AD6E-4322-8C98-0AC9F7E706E7}" destId="{CFD0C8DB-AE84-496C-BCC5-376E203E6A8E}" srcOrd="1" destOrd="0" parTransId="{D243EB0E-B5E1-445E-B1AC-342DD58953CD}" sibTransId="{2F118A12-96EA-471A-8814-B97D57F44C65}"/>
    <dgm:cxn modelId="{730DB865-3B1D-4087-8D48-1F3E50CEA8BD}" srcId="{D3ACCC90-AD6E-4322-8C98-0AC9F7E706E7}" destId="{FD9613FA-3E3E-4A7C-86E3-426277EA9F6B}" srcOrd="2" destOrd="0" parTransId="{4CAA5AE8-3788-47EB-B7D8-4AE2D690131D}" sibTransId="{7B6166B4-F179-4DA4-9373-BC3287AC109A}"/>
    <dgm:cxn modelId="{6A91768A-6AA9-43A8-93E0-6EB751A54F77}" srcId="{D3ACCC90-AD6E-4322-8C98-0AC9F7E706E7}" destId="{65D96850-2F87-4FE2-B900-E84DFA7D25B6}" srcOrd="0" destOrd="0" parTransId="{5FCF6766-89F2-4267-B838-C0A4387F9B26}" sibTransId="{2DC6BE31-7340-4969-BC43-D729AA5FB0CA}"/>
    <dgm:cxn modelId="{9B4E3BCC-AEAA-9D46-B7CC-B997FE8D9C52}" type="presOf" srcId="{CFD0C8DB-AE84-496C-BCC5-376E203E6A8E}" destId="{793271C6-123A-F649-A57C-C24FBCB45C64}" srcOrd="0" destOrd="0" presId="urn:microsoft.com/office/officeart/2005/8/layout/vList2"/>
    <dgm:cxn modelId="{6686ECFF-5C20-A949-8623-7B0E67C62D82}" type="presOf" srcId="{D3ACCC90-AD6E-4322-8C98-0AC9F7E706E7}" destId="{3D14F47D-B3BA-4D48-A158-F687126D1BFA}" srcOrd="0" destOrd="0" presId="urn:microsoft.com/office/officeart/2005/8/layout/vList2"/>
    <dgm:cxn modelId="{374F9AE2-73FF-D043-AEBB-1B861A2F0A54}" type="presParOf" srcId="{3D14F47D-B3BA-4D48-A158-F687126D1BFA}" destId="{9EAE6BCD-7296-504D-AAEF-677793C03118}" srcOrd="0" destOrd="0" presId="urn:microsoft.com/office/officeart/2005/8/layout/vList2"/>
    <dgm:cxn modelId="{5584DABB-B6C6-8C4D-9EA9-BF57968EEB3D}" type="presParOf" srcId="{3D14F47D-B3BA-4D48-A158-F687126D1BFA}" destId="{356C1822-9B4D-4D4F-9790-CEE2143FAB4D}" srcOrd="1" destOrd="0" presId="urn:microsoft.com/office/officeart/2005/8/layout/vList2"/>
    <dgm:cxn modelId="{7523B383-E49D-144C-BC4F-2E993F955DD1}" type="presParOf" srcId="{3D14F47D-B3BA-4D48-A158-F687126D1BFA}" destId="{793271C6-123A-F649-A57C-C24FBCB45C64}" srcOrd="2" destOrd="0" presId="urn:microsoft.com/office/officeart/2005/8/layout/vList2"/>
    <dgm:cxn modelId="{B37F74D3-43D8-D546-B07A-05BE9CB67DED}" type="presParOf" srcId="{3D14F47D-B3BA-4D48-A158-F687126D1BFA}" destId="{D663DB8A-7A4F-894E-BD4B-DB7A2F4C33E5}" srcOrd="3" destOrd="0" presId="urn:microsoft.com/office/officeart/2005/8/layout/vList2"/>
    <dgm:cxn modelId="{5C1FED24-9047-7447-99F2-F2C1E697CA87}" type="presParOf" srcId="{3D14F47D-B3BA-4D48-A158-F687126D1BFA}" destId="{1C5D8B40-6BCD-204A-BBF1-1D9FF219ADB4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A726E5-6132-B749-BA7B-B197398A150A}">
      <dsp:nvSpPr>
        <dsp:cNvPr id="0" name=""/>
        <dsp:cNvSpPr/>
      </dsp:nvSpPr>
      <dsp:spPr>
        <a:xfrm>
          <a:off x="0" y="109676"/>
          <a:ext cx="5210615" cy="4563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S</a:t>
          </a:r>
          <a:r>
            <a:rPr lang="en-US" sz="2000" kern="1200"/>
            <a:t>ALIVATION</a:t>
          </a:r>
        </a:p>
      </dsp:txBody>
      <dsp:txXfrm>
        <a:off x="22275" y="131951"/>
        <a:ext cx="5166065" cy="411750"/>
      </dsp:txXfrm>
    </dsp:sp>
    <dsp:sp modelId="{F997F273-0C2B-4447-A506-AC52EC2050B7}">
      <dsp:nvSpPr>
        <dsp:cNvPr id="0" name=""/>
        <dsp:cNvSpPr/>
      </dsp:nvSpPr>
      <dsp:spPr>
        <a:xfrm>
          <a:off x="0" y="623576"/>
          <a:ext cx="5210615" cy="456300"/>
        </a:xfrm>
        <a:prstGeom prst="roundRect">
          <a:avLst/>
        </a:prstGeom>
        <a:solidFill>
          <a:schemeClr val="accent2">
            <a:hueOff val="-188601"/>
            <a:satOff val="1325"/>
            <a:lumOff val="-9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L</a:t>
          </a:r>
          <a:r>
            <a:rPr lang="en-US" sz="2000" kern="1200"/>
            <a:t>ACRIMATION</a:t>
          </a:r>
        </a:p>
      </dsp:txBody>
      <dsp:txXfrm>
        <a:off x="22275" y="645851"/>
        <a:ext cx="5166065" cy="411750"/>
      </dsp:txXfrm>
    </dsp:sp>
    <dsp:sp modelId="{A738D4ED-DB88-E34E-B84B-FF4E55FE7CD0}">
      <dsp:nvSpPr>
        <dsp:cNvPr id="0" name=""/>
        <dsp:cNvSpPr/>
      </dsp:nvSpPr>
      <dsp:spPr>
        <a:xfrm>
          <a:off x="0" y="1137476"/>
          <a:ext cx="5210615" cy="456300"/>
        </a:xfrm>
        <a:prstGeom prst="roundRect">
          <a:avLst/>
        </a:prstGeom>
        <a:solidFill>
          <a:schemeClr val="accent2">
            <a:hueOff val="-377202"/>
            <a:satOff val="2650"/>
            <a:lumOff val="-1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U</a:t>
          </a:r>
          <a:r>
            <a:rPr lang="en-US" sz="2000" kern="1200"/>
            <a:t>RINATION</a:t>
          </a:r>
        </a:p>
      </dsp:txBody>
      <dsp:txXfrm>
        <a:off x="22275" y="1159751"/>
        <a:ext cx="5166065" cy="411750"/>
      </dsp:txXfrm>
    </dsp:sp>
    <dsp:sp modelId="{447F13FE-13A7-1947-839C-2C72A5CCEE0B}">
      <dsp:nvSpPr>
        <dsp:cNvPr id="0" name=""/>
        <dsp:cNvSpPr/>
      </dsp:nvSpPr>
      <dsp:spPr>
        <a:xfrm>
          <a:off x="0" y="1651376"/>
          <a:ext cx="5210615" cy="456300"/>
        </a:xfrm>
        <a:prstGeom prst="roundRect">
          <a:avLst/>
        </a:prstGeom>
        <a:solidFill>
          <a:schemeClr val="accent2">
            <a:hueOff val="-565802"/>
            <a:satOff val="3975"/>
            <a:lumOff val="-29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D</a:t>
          </a:r>
          <a:r>
            <a:rPr lang="en-US" sz="2000" kern="1200"/>
            <a:t>EFECATION</a:t>
          </a:r>
        </a:p>
      </dsp:txBody>
      <dsp:txXfrm>
        <a:off x="22275" y="1673651"/>
        <a:ext cx="5166065" cy="411750"/>
      </dsp:txXfrm>
    </dsp:sp>
    <dsp:sp modelId="{47B04ED3-FB8D-E04F-A8F8-C5B754F2CD67}">
      <dsp:nvSpPr>
        <dsp:cNvPr id="0" name=""/>
        <dsp:cNvSpPr/>
      </dsp:nvSpPr>
      <dsp:spPr>
        <a:xfrm>
          <a:off x="0" y="2165276"/>
          <a:ext cx="5210615" cy="456300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GI PAIN</a:t>
          </a:r>
        </a:p>
      </dsp:txBody>
      <dsp:txXfrm>
        <a:off x="22275" y="2187551"/>
        <a:ext cx="5166065" cy="411750"/>
      </dsp:txXfrm>
    </dsp:sp>
    <dsp:sp modelId="{AC2C7A0A-C726-304F-9077-83E009AE1727}">
      <dsp:nvSpPr>
        <dsp:cNvPr id="0" name=""/>
        <dsp:cNvSpPr/>
      </dsp:nvSpPr>
      <dsp:spPr>
        <a:xfrm>
          <a:off x="0" y="2679176"/>
          <a:ext cx="5210615" cy="456300"/>
        </a:xfrm>
        <a:prstGeom prst="roundRect">
          <a:avLst/>
        </a:prstGeom>
        <a:solidFill>
          <a:schemeClr val="accent2">
            <a:hueOff val="-943004"/>
            <a:satOff val="6626"/>
            <a:lumOff val="-4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MESIS</a:t>
          </a:r>
        </a:p>
      </dsp:txBody>
      <dsp:txXfrm>
        <a:off x="22275" y="2701451"/>
        <a:ext cx="5166065" cy="411750"/>
      </dsp:txXfrm>
    </dsp:sp>
    <dsp:sp modelId="{52083D03-442F-D44A-8A39-B3E31C299A3E}">
      <dsp:nvSpPr>
        <dsp:cNvPr id="0" name=""/>
        <dsp:cNvSpPr/>
      </dsp:nvSpPr>
      <dsp:spPr>
        <a:xfrm>
          <a:off x="0" y="3193076"/>
          <a:ext cx="5210615" cy="456300"/>
        </a:xfrm>
        <a:prstGeom prst="roundRect">
          <a:avLst/>
        </a:prstGeom>
        <a:solidFill>
          <a:schemeClr val="accent2">
            <a:hueOff val="-1131605"/>
            <a:satOff val="7951"/>
            <a:lumOff val="-5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ST AND DIGEST</a:t>
          </a:r>
        </a:p>
      </dsp:txBody>
      <dsp:txXfrm>
        <a:off x="22275" y="3215351"/>
        <a:ext cx="5166065" cy="411750"/>
      </dsp:txXfrm>
    </dsp:sp>
    <dsp:sp modelId="{2804C64C-6DB3-8D40-9BA5-C6F7EBE7A7F7}">
      <dsp:nvSpPr>
        <dsp:cNvPr id="0" name=""/>
        <dsp:cNvSpPr/>
      </dsp:nvSpPr>
      <dsp:spPr>
        <a:xfrm>
          <a:off x="0" y="3706976"/>
          <a:ext cx="5210615" cy="456300"/>
        </a:xfrm>
        <a:prstGeom prst="roundRect">
          <a:avLst/>
        </a:prstGeom>
        <a:solidFill>
          <a:schemeClr val="accent2">
            <a:hueOff val="-1320206"/>
            <a:satOff val="9276"/>
            <a:lumOff val="-68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VASODILATION</a:t>
          </a:r>
        </a:p>
      </dsp:txBody>
      <dsp:txXfrm>
        <a:off x="22275" y="3729251"/>
        <a:ext cx="5166065" cy="411750"/>
      </dsp:txXfrm>
    </dsp:sp>
    <dsp:sp modelId="{DC526079-F875-7C47-B9A9-E93DFEEA99D6}">
      <dsp:nvSpPr>
        <dsp:cNvPr id="0" name=""/>
        <dsp:cNvSpPr/>
      </dsp:nvSpPr>
      <dsp:spPr>
        <a:xfrm>
          <a:off x="0" y="4220876"/>
          <a:ext cx="5210615" cy="456300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BRONCHOCONSTRICTION</a:t>
          </a:r>
        </a:p>
      </dsp:txBody>
      <dsp:txXfrm>
        <a:off x="22275" y="4243151"/>
        <a:ext cx="5166065" cy="4117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EFB8D3-B167-ED46-AB74-9CF245270493}">
      <dsp:nvSpPr>
        <dsp:cNvPr id="0" name=""/>
        <dsp:cNvSpPr/>
      </dsp:nvSpPr>
      <dsp:spPr>
        <a:xfrm>
          <a:off x="3167" y="460182"/>
          <a:ext cx="3087885" cy="10919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SIGNIFICANT RISK OF SYSTEMIC SIDE EFFECTS</a:t>
          </a:r>
        </a:p>
      </dsp:txBody>
      <dsp:txXfrm>
        <a:off x="3167" y="460182"/>
        <a:ext cx="3087885" cy="1091965"/>
      </dsp:txXfrm>
    </dsp:sp>
    <dsp:sp modelId="{3978761D-6CC8-E644-B95C-79851991B1AE}">
      <dsp:nvSpPr>
        <dsp:cNvPr id="0" name=""/>
        <dsp:cNvSpPr/>
      </dsp:nvSpPr>
      <dsp:spPr>
        <a:xfrm>
          <a:off x="3167" y="1552148"/>
          <a:ext cx="3087885" cy="132583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ED3896-399A-AD41-8981-EFD93A04F8E5}">
      <dsp:nvSpPr>
        <dsp:cNvPr id="0" name=""/>
        <dsp:cNvSpPr/>
      </dsp:nvSpPr>
      <dsp:spPr>
        <a:xfrm>
          <a:off x="3523357" y="460182"/>
          <a:ext cx="3087885" cy="10919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CNS – MOST COMMON</a:t>
          </a:r>
        </a:p>
      </dsp:txBody>
      <dsp:txXfrm>
        <a:off x="3523357" y="460182"/>
        <a:ext cx="3087885" cy="1091965"/>
      </dsp:txXfrm>
    </dsp:sp>
    <dsp:sp modelId="{08F2DB74-1B5E-F145-AC79-7447A3B7DF25}">
      <dsp:nvSpPr>
        <dsp:cNvPr id="0" name=""/>
        <dsp:cNvSpPr/>
      </dsp:nvSpPr>
      <dsp:spPr>
        <a:xfrm>
          <a:off x="3523357" y="1552148"/>
          <a:ext cx="3087885" cy="132583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HEADACHE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DEPRESSION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WEAKNESS</a:t>
          </a:r>
        </a:p>
      </dsp:txBody>
      <dsp:txXfrm>
        <a:off x="3523357" y="1552148"/>
        <a:ext cx="3087885" cy="1325835"/>
      </dsp:txXfrm>
    </dsp:sp>
    <dsp:sp modelId="{AECB7FA2-04B2-0D4F-9246-6E2D2F05CBA4}">
      <dsp:nvSpPr>
        <dsp:cNvPr id="0" name=""/>
        <dsp:cNvSpPr/>
      </dsp:nvSpPr>
      <dsp:spPr>
        <a:xfrm>
          <a:off x="7043546" y="460182"/>
          <a:ext cx="3087885" cy="10919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CARDIOVASCULAR (SECOND MOST COMMON)</a:t>
          </a:r>
        </a:p>
      </dsp:txBody>
      <dsp:txXfrm>
        <a:off x="7043546" y="460182"/>
        <a:ext cx="3087885" cy="1091965"/>
      </dsp:txXfrm>
    </dsp:sp>
    <dsp:sp modelId="{22B32D8E-F930-1448-A4BF-92A3CA7DC817}">
      <dsp:nvSpPr>
        <dsp:cNvPr id="0" name=""/>
        <dsp:cNvSpPr/>
      </dsp:nvSpPr>
      <dsp:spPr>
        <a:xfrm>
          <a:off x="7043546" y="1552148"/>
          <a:ext cx="3087885" cy="132583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BRADYCARDIA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HYPOTENSION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SYNCOPE</a:t>
          </a:r>
        </a:p>
      </dsp:txBody>
      <dsp:txXfrm>
        <a:off x="7043546" y="1552148"/>
        <a:ext cx="3087885" cy="132583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EF449F-EC0F-DF40-B6BA-7DF3CA9CF712}">
      <dsp:nvSpPr>
        <dsp:cNvPr id="0" name=""/>
        <dsp:cNvSpPr/>
      </dsp:nvSpPr>
      <dsp:spPr>
        <a:xfrm>
          <a:off x="2969" y="884111"/>
          <a:ext cx="2119952" cy="13461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2B691B-1B38-9846-94B1-EA78BA44E34E}">
      <dsp:nvSpPr>
        <dsp:cNvPr id="0" name=""/>
        <dsp:cNvSpPr/>
      </dsp:nvSpPr>
      <dsp:spPr>
        <a:xfrm>
          <a:off x="238519" y="1107884"/>
          <a:ext cx="2119952" cy="13461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FIRST TOPICAL BIOLOGIC MEDICATION</a:t>
          </a:r>
        </a:p>
      </dsp:txBody>
      <dsp:txXfrm>
        <a:off x="277947" y="1147312"/>
        <a:ext cx="2041096" cy="1267313"/>
      </dsp:txXfrm>
    </dsp:sp>
    <dsp:sp modelId="{97EE7C03-F382-354E-B3AA-86C6E68159BA}">
      <dsp:nvSpPr>
        <dsp:cNvPr id="0" name=""/>
        <dsp:cNvSpPr/>
      </dsp:nvSpPr>
      <dsp:spPr>
        <a:xfrm>
          <a:off x="2594022" y="884111"/>
          <a:ext cx="2119952" cy="13461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CEDFEE-B36B-BF4E-8017-6E7549AF2401}">
      <dsp:nvSpPr>
        <dsp:cNvPr id="0" name=""/>
        <dsp:cNvSpPr/>
      </dsp:nvSpPr>
      <dsp:spPr>
        <a:xfrm>
          <a:off x="2829572" y="1107884"/>
          <a:ext cx="2119952" cy="13461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HUMAN NERVE GROWTH FACTOR</a:t>
          </a:r>
        </a:p>
      </dsp:txBody>
      <dsp:txXfrm>
        <a:off x="2869000" y="1147312"/>
        <a:ext cx="2041096" cy="1267313"/>
      </dsp:txXfrm>
    </dsp:sp>
    <dsp:sp modelId="{962CEEBB-ACCA-3F49-838D-959709C842EF}">
      <dsp:nvSpPr>
        <dsp:cNvPr id="0" name=""/>
        <dsp:cNvSpPr/>
      </dsp:nvSpPr>
      <dsp:spPr>
        <a:xfrm>
          <a:off x="5185075" y="884111"/>
          <a:ext cx="2119952" cy="13461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DEBA16-D2F3-F24D-8FBD-67D0DD423006}">
      <dsp:nvSpPr>
        <dsp:cNvPr id="0" name=""/>
        <dsp:cNvSpPr/>
      </dsp:nvSpPr>
      <dsp:spPr>
        <a:xfrm>
          <a:off x="5420625" y="1107884"/>
          <a:ext cx="2119952" cy="13461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POTENTIAL TO COMPLETELY HEAL NEUROTROPHIC KERATITIS</a:t>
          </a:r>
        </a:p>
      </dsp:txBody>
      <dsp:txXfrm>
        <a:off x="5460053" y="1147312"/>
        <a:ext cx="2041096" cy="1267313"/>
      </dsp:txXfrm>
    </dsp:sp>
    <dsp:sp modelId="{170A8238-1D38-C64A-AA8A-CB9E9B20ABBB}">
      <dsp:nvSpPr>
        <dsp:cNvPr id="0" name=""/>
        <dsp:cNvSpPr/>
      </dsp:nvSpPr>
      <dsp:spPr>
        <a:xfrm>
          <a:off x="7776128" y="884111"/>
          <a:ext cx="2119952" cy="13461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0FE7A0-A728-224E-8322-7600629160B2}">
      <dsp:nvSpPr>
        <dsp:cNvPr id="0" name=""/>
        <dsp:cNvSpPr/>
      </dsp:nvSpPr>
      <dsp:spPr>
        <a:xfrm>
          <a:off x="8011678" y="1107884"/>
          <a:ext cx="2119952" cy="13461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Q2H X 8 WEEKS</a:t>
          </a:r>
        </a:p>
      </dsp:txBody>
      <dsp:txXfrm>
        <a:off x="8051106" y="1147312"/>
        <a:ext cx="2041096" cy="12673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4D55A4-8720-A542-9C6E-6E3B00DE6584}">
      <dsp:nvSpPr>
        <dsp:cNvPr id="0" name=""/>
        <dsp:cNvSpPr/>
      </dsp:nvSpPr>
      <dsp:spPr>
        <a:xfrm>
          <a:off x="0" y="445375"/>
          <a:ext cx="5210615" cy="88978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/>
            <a:t>MIOSIS</a:t>
          </a:r>
        </a:p>
      </dsp:txBody>
      <dsp:txXfrm>
        <a:off x="43436" y="488811"/>
        <a:ext cx="5123743" cy="802913"/>
      </dsp:txXfrm>
    </dsp:sp>
    <dsp:sp modelId="{7ADB2FF1-696D-5E47-9EC7-B6DA61F3AD76}">
      <dsp:nvSpPr>
        <dsp:cNvPr id="0" name=""/>
        <dsp:cNvSpPr/>
      </dsp:nvSpPr>
      <dsp:spPr>
        <a:xfrm>
          <a:off x="0" y="1447480"/>
          <a:ext cx="5210615" cy="889785"/>
        </a:xfrm>
        <a:prstGeom prst="roundRect">
          <a:avLst/>
        </a:prstGeom>
        <a:solidFill>
          <a:schemeClr val="accent2">
            <a:hueOff val="-502936"/>
            <a:satOff val="3534"/>
            <a:lumOff val="-26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/>
            <a:t>ACCOMMODATION</a:t>
          </a:r>
        </a:p>
      </dsp:txBody>
      <dsp:txXfrm>
        <a:off x="43436" y="1490916"/>
        <a:ext cx="5123743" cy="802913"/>
      </dsp:txXfrm>
    </dsp:sp>
    <dsp:sp modelId="{13009C71-759B-7947-980D-A5734675B1F8}">
      <dsp:nvSpPr>
        <dsp:cNvPr id="0" name=""/>
        <dsp:cNvSpPr/>
      </dsp:nvSpPr>
      <dsp:spPr>
        <a:xfrm>
          <a:off x="0" y="2449586"/>
          <a:ext cx="5210615" cy="889785"/>
        </a:xfrm>
        <a:prstGeom prst="roundRect">
          <a:avLst/>
        </a:prstGeom>
        <a:solidFill>
          <a:schemeClr val="accent2">
            <a:hueOff val="-1005871"/>
            <a:satOff val="7067"/>
            <a:lumOff val="-5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/>
            <a:t>DECREASED IOP</a:t>
          </a:r>
        </a:p>
      </dsp:txBody>
      <dsp:txXfrm>
        <a:off x="43436" y="2493022"/>
        <a:ext cx="5123743" cy="802913"/>
      </dsp:txXfrm>
    </dsp:sp>
    <dsp:sp modelId="{482BB2AE-C765-3D4E-A5F5-58FA0CC7F759}">
      <dsp:nvSpPr>
        <dsp:cNvPr id="0" name=""/>
        <dsp:cNvSpPr/>
      </dsp:nvSpPr>
      <dsp:spPr>
        <a:xfrm>
          <a:off x="0" y="3451691"/>
          <a:ext cx="5210615" cy="889785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/>
            <a:t>ACETYLCHOLINE </a:t>
          </a:r>
        </a:p>
      </dsp:txBody>
      <dsp:txXfrm>
        <a:off x="43436" y="3495127"/>
        <a:ext cx="5123743" cy="8029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B7894E-F877-A843-8075-151B2EA26333}">
      <dsp:nvSpPr>
        <dsp:cNvPr id="0" name=""/>
        <dsp:cNvSpPr/>
      </dsp:nvSpPr>
      <dsp:spPr>
        <a:xfrm>
          <a:off x="0" y="31825"/>
          <a:ext cx="5210615" cy="14976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/>
            <a:t>ANGLE CLOSURE GLAUCOMA</a:t>
          </a:r>
        </a:p>
      </dsp:txBody>
      <dsp:txXfrm>
        <a:off x="73107" y="104932"/>
        <a:ext cx="5064401" cy="1351386"/>
      </dsp:txXfrm>
    </dsp:sp>
    <dsp:sp modelId="{E55EC752-C760-A346-88F5-D635568E0A52}">
      <dsp:nvSpPr>
        <dsp:cNvPr id="0" name=""/>
        <dsp:cNvSpPr/>
      </dsp:nvSpPr>
      <dsp:spPr>
        <a:xfrm>
          <a:off x="0" y="1644625"/>
          <a:ext cx="5210615" cy="1497600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/>
            <a:t>ADIE’S TONIC PUPIL</a:t>
          </a:r>
        </a:p>
      </dsp:txBody>
      <dsp:txXfrm>
        <a:off x="73107" y="1717732"/>
        <a:ext cx="5064401" cy="1351386"/>
      </dsp:txXfrm>
    </dsp:sp>
    <dsp:sp modelId="{F1E9BAD0-E325-BE46-80C6-EFB165A37915}">
      <dsp:nvSpPr>
        <dsp:cNvPr id="0" name=""/>
        <dsp:cNvSpPr/>
      </dsp:nvSpPr>
      <dsp:spPr>
        <a:xfrm>
          <a:off x="0" y="3257426"/>
          <a:ext cx="5210615" cy="1497600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/>
            <a:t>PRESBYOPIA MANAGEMENT</a:t>
          </a:r>
        </a:p>
      </dsp:txBody>
      <dsp:txXfrm>
        <a:off x="73107" y="3330533"/>
        <a:ext cx="5064401" cy="13513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ABB194-22A2-BB4C-BEFA-134AACAC86D8}">
      <dsp:nvSpPr>
        <dsp:cNvPr id="0" name=""/>
        <dsp:cNvSpPr/>
      </dsp:nvSpPr>
      <dsp:spPr>
        <a:xfrm>
          <a:off x="0" y="90078"/>
          <a:ext cx="5343082" cy="16087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Vuity</a:t>
          </a:r>
          <a:r>
            <a:rPr lang="en-US" sz="2000" kern="1200" dirty="0"/>
            <a:t> is a cholinergic muscarinic agonist that stimulates muscarinic receptors in smooth muscles such as the iris sphincter and ciliary muscle</a:t>
          </a:r>
        </a:p>
      </dsp:txBody>
      <dsp:txXfrm>
        <a:off x="78533" y="168611"/>
        <a:ext cx="5186016" cy="1451684"/>
      </dsp:txXfrm>
    </dsp:sp>
    <dsp:sp modelId="{F9DA751C-C467-F049-A3E5-6846C752C2B4}">
      <dsp:nvSpPr>
        <dsp:cNvPr id="0" name=""/>
        <dsp:cNvSpPr/>
      </dsp:nvSpPr>
      <dsp:spPr>
        <a:xfrm>
          <a:off x="0" y="1756428"/>
          <a:ext cx="5343082" cy="1608750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he mechanism of action involves contraction of the iris sphincter muscle, which constricts the pupil to improve near and intermediate vision acuity while maintaining some pupillary responsiveness to light.</a:t>
          </a:r>
        </a:p>
      </dsp:txBody>
      <dsp:txXfrm>
        <a:off x="78533" y="1834961"/>
        <a:ext cx="5186016" cy="1451684"/>
      </dsp:txXfrm>
    </dsp:sp>
    <dsp:sp modelId="{CF958D4D-3B2A-D94F-B165-0CFB58C54EC3}">
      <dsp:nvSpPr>
        <dsp:cNvPr id="0" name=""/>
        <dsp:cNvSpPr/>
      </dsp:nvSpPr>
      <dsp:spPr>
        <a:xfrm>
          <a:off x="0" y="3422777"/>
          <a:ext cx="5343082" cy="1608750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he drug also contracts the ciliary muscle, which may make the eye more myopic.</a:t>
          </a:r>
        </a:p>
      </dsp:txBody>
      <dsp:txXfrm>
        <a:off x="78533" y="3501310"/>
        <a:ext cx="5186016" cy="14516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6ED5C-FF7F-264E-9794-78D7FEDE448D}">
      <dsp:nvSpPr>
        <dsp:cNvPr id="0" name=""/>
        <dsp:cNvSpPr/>
      </dsp:nvSpPr>
      <dsp:spPr>
        <a:xfrm>
          <a:off x="0" y="383906"/>
          <a:ext cx="5210615" cy="73007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HEADACHES</a:t>
          </a:r>
        </a:p>
      </dsp:txBody>
      <dsp:txXfrm>
        <a:off x="35640" y="419546"/>
        <a:ext cx="5139335" cy="658799"/>
      </dsp:txXfrm>
    </dsp:sp>
    <dsp:sp modelId="{8CF1061F-67FF-F947-94D3-A4C3409EF4AD}">
      <dsp:nvSpPr>
        <dsp:cNvPr id="0" name=""/>
        <dsp:cNvSpPr/>
      </dsp:nvSpPr>
      <dsp:spPr>
        <a:xfrm>
          <a:off x="0" y="1206145"/>
          <a:ext cx="5210615" cy="730079"/>
        </a:xfrm>
        <a:prstGeom prst="roundRect">
          <a:avLst/>
        </a:prstGeom>
        <a:solidFill>
          <a:schemeClr val="accent2">
            <a:hueOff val="-377202"/>
            <a:satOff val="2650"/>
            <a:lumOff val="-1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BROW ACHE</a:t>
          </a:r>
        </a:p>
      </dsp:txBody>
      <dsp:txXfrm>
        <a:off x="35640" y="1241785"/>
        <a:ext cx="5139335" cy="658799"/>
      </dsp:txXfrm>
    </dsp:sp>
    <dsp:sp modelId="{257786A9-17C2-AF43-BF01-F33B85212224}">
      <dsp:nvSpPr>
        <dsp:cNvPr id="0" name=""/>
        <dsp:cNvSpPr/>
      </dsp:nvSpPr>
      <dsp:spPr>
        <a:xfrm>
          <a:off x="0" y="2028385"/>
          <a:ext cx="5210615" cy="730079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MYOPIC SHIFT</a:t>
          </a:r>
        </a:p>
      </dsp:txBody>
      <dsp:txXfrm>
        <a:off x="35640" y="2064025"/>
        <a:ext cx="5139335" cy="658799"/>
      </dsp:txXfrm>
    </dsp:sp>
    <dsp:sp modelId="{6C73593D-476B-0F4C-9E55-946BDFBFAF59}">
      <dsp:nvSpPr>
        <dsp:cNvPr id="0" name=""/>
        <dsp:cNvSpPr/>
      </dsp:nvSpPr>
      <dsp:spPr>
        <a:xfrm>
          <a:off x="0" y="2850625"/>
          <a:ext cx="5210615" cy="730079"/>
        </a:xfrm>
        <a:prstGeom prst="roundRect">
          <a:avLst/>
        </a:prstGeom>
        <a:solidFill>
          <a:schemeClr val="accent2">
            <a:hueOff val="-1131605"/>
            <a:satOff val="7951"/>
            <a:lumOff val="-5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CATARACTS</a:t>
          </a:r>
        </a:p>
      </dsp:txBody>
      <dsp:txXfrm>
        <a:off x="35640" y="2886265"/>
        <a:ext cx="5139335" cy="658799"/>
      </dsp:txXfrm>
    </dsp:sp>
    <dsp:sp modelId="{8D832CF5-8CAA-BA43-945D-E9036D790207}">
      <dsp:nvSpPr>
        <dsp:cNvPr id="0" name=""/>
        <dsp:cNvSpPr/>
      </dsp:nvSpPr>
      <dsp:spPr>
        <a:xfrm>
          <a:off x="0" y="3672866"/>
          <a:ext cx="5210615" cy="730079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RETINAL DETACHMENT</a:t>
          </a:r>
        </a:p>
      </dsp:txBody>
      <dsp:txXfrm>
        <a:off x="35640" y="3708506"/>
        <a:ext cx="5139335" cy="65879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0112EC-91AF-FC4F-9AE7-C35C9B7DAB47}">
      <dsp:nvSpPr>
        <dsp:cNvPr id="0" name=""/>
        <dsp:cNvSpPr/>
      </dsp:nvSpPr>
      <dsp:spPr>
        <a:xfrm>
          <a:off x="0" y="132716"/>
          <a:ext cx="5210615" cy="82133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MYDRIASIS</a:t>
          </a:r>
        </a:p>
      </dsp:txBody>
      <dsp:txXfrm>
        <a:off x="40094" y="172810"/>
        <a:ext cx="5130427" cy="741151"/>
      </dsp:txXfrm>
    </dsp:sp>
    <dsp:sp modelId="{2193FD2E-9224-CA45-8DA1-B14226504F4D}">
      <dsp:nvSpPr>
        <dsp:cNvPr id="0" name=""/>
        <dsp:cNvSpPr/>
      </dsp:nvSpPr>
      <dsp:spPr>
        <a:xfrm>
          <a:off x="0" y="1057736"/>
          <a:ext cx="5210615" cy="821339"/>
        </a:xfrm>
        <a:prstGeom prst="roundRect">
          <a:avLst/>
        </a:prstGeom>
        <a:solidFill>
          <a:schemeClr val="accent2">
            <a:hueOff val="-377202"/>
            <a:satOff val="2650"/>
            <a:lumOff val="-1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VASOCONSTRICTION</a:t>
          </a:r>
        </a:p>
      </dsp:txBody>
      <dsp:txXfrm>
        <a:off x="40094" y="1097830"/>
        <a:ext cx="5130427" cy="741151"/>
      </dsp:txXfrm>
    </dsp:sp>
    <dsp:sp modelId="{E48E3644-847C-8246-84AF-A5D8A03E1857}">
      <dsp:nvSpPr>
        <dsp:cNvPr id="0" name=""/>
        <dsp:cNvSpPr/>
      </dsp:nvSpPr>
      <dsp:spPr>
        <a:xfrm>
          <a:off x="0" y="1982756"/>
          <a:ext cx="5210615" cy="821339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FIGHT OR FLIGHT</a:t>
          </a:r>
        </a:p>
      </dsp:txBody>
      <dsp:txXfrm>
        <a:off x="40094" y="2022850"/>
        <a:ext cx="5130427" cy="741151"/>
      </dsp:txXfrm>
    </dsp:sp>
    <dsp:sp modelId="{809E9FFA-1851-4549-B3F3-C795EA8D1B65}">
      <dsp:nvSpPr>
        <dsp:cNvPr id="0" name=""/>
        <dsp:cNvSpPr/>
      </dsp:nvSpPr>
      <dsp:spPr>
        <a:xfrm>
          <a:off x="0" y="2907776"/>
          <a:ext cx="5210615" cy="821339"/>
        </a:xfrm>
        <a:prstGeom prst="roundRect">
          <a:avLst/>
        </a:prstGeom>
        <a:solidFill>
          <a:schemeClr val="accent2">
            <a:hueOff val="-1131605"/>
            <a:satOff val="7951"/>
            <a:lumOff val="-5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BRONCHODILATION</a:t>
          </a:r>
        </a:p>
      </dsp:txBody>
      <dsp:txXfrm>
        <a:off x="40094" y="2947870"/>
        <a:ext cx="5130427" cy="741151"/>
      </dsp:txXfrm>
    </dsp:sp>
    <dsp:sp modelId="{BA9E1DE7-6A8F-2A4A-A330-589CA5D9D910}">
      <dsp:nvSpPr>
        <dsp:cNvPr id="0" name=""/>
        <dsp:cNvSpPr/>
      </dsp:nvSpPr>
      <dsp:spPr>
        <a:xfrm>
          <a:off x="0" y="3832795"/>
          <a:ext cx="5210615" cy="821339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DRYNESS</a:t>
          </a:r>
        </a:p>
      </dsp:txBody>
      <dsp:txXfrm>
        <a:off x="40094" y="3872889"/>
        <a:ext cx="5130427" cy="74115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7749B4-F079-DD48-9C2F-0593BA510093}">
      <dsp:nvSpPr>
        <dsp:cNvPr id="0" name=""/>
        <dsp:cNvSpPr/>
      </dsp:nvSpPr>
      <dsp:spPr>
        <a:xfrm>
          <a:off x="0" y="488665"/>
          <a:ext cx="5210615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472D23-40C0-C349-987E-324696C1D69F}">
      <dsp:nvSpPr>
        <dsp:cNvPr id="0" name=""/>
        <dsp:cNvSpPr/>
      </dsp:nvSpPr>
      <dsp:spPr>
        <a:xfrm>
          <a:off x="260530" y="104905"/>
          <a:ext cx="3647431" cy="7675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864" tIns="0" rIns="137864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CHLORPROMAZINE</a:t>
          </a:r>
        </a:p>
      </dsp:txBody>
      <dsp:txXfrm>
        <a:off x="297997" y="142372"/>
        <a:ext cx="3572497" cy="692586"/>
      </dsp:txXfrm>
    </dsp:sp>
    <dsp:sp modelId="{1DD28DFA-F2D8-5847-8C43-D80DBF465854}">
      <dsp:nvSpPr>
        <dsp:cNvPr id="0" name=""/>
        <dsp:cNvSpPr/>
      </dsp:nvSpPr>
      <dsp:spPr>
        <a:xfrm>
          <a:off x="0" y="1668025"/>
          <a:ext cx="5210615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3480DE-D1DD-624E-BE62-BB32D8CC69E2}">
      <dsp:nvSpPr>
        <dsp:cNvPr id="0" name=""/>
        <dsp:cNvSpPr/>
      </dsp:nvSpPr>
      <dsp:spPr>
        <a:xfrm>
          <a:off x="260530" y="1284265"/>
          <a:ext cx="3647431" cy="7675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864" tIns="0" rIns="137864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THIORIDAZINE</a:t>
          </a:r>
        </a:p>
      </dsp:txBody>
      <dsp:txXfrm>
        <a:off x="297997" y="1321732"/>
        <a:ext cx="3572497" cy="692586"/>
      </dsp:txXfrm>
    </dsp:sp>
    <dsp:sp modelId="{ADEF01D0-7B69-DF4E-8BB2-FC1EDEBE8269}">
      <dsp:nvSpPr>
        <dsp:cNvPr id="0" name=""/>
        <dsp:cNvSpPr/>
      </dsp:nvSpPr>
      <dsp:spPr>
        <a:xfrm>
          <a:off x="0" y="2847385"/>
          <a:ext cx="5210615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C394D9-D2B9-294E-9D68-029D33283534}">
      <dsp:nvSpPr>
        <dsp:cNvPr id="0" name=""/>
        <dsp:cNvSpPr/>
      </dsp:nvSpPr>
      <dsp:spPr>
        <a:xfrm>
          <a:off x="260530" y="2463625"/>
          <a:ext cx="3647431" cy="7675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864" tIns="0" rIns="137864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PROMETHAZINE (ANTI-HISTAMINE)</a:t>
          </a:r>
        </a:p>
      </dsp:txBody>
      <dsp:txXfrm>
        <a:off x="297997" y="2501092"/>
        <a:ext cx="3572497" cy="692586"/>
      </dsp:txXfrm>
    </dsp:sp>
    <dsp:sp modelId="{F531D558-FD7F-A14F-B359-01E0748E3BDF}">
      <dsp:nvSpPr>
        <dsp:cNvPr id="0" name=""/>
        <dsp:cNvSpPr/>
      </dsp:nvSpPr>
      <dsp:spPr>
        <a:xfrm>
          <a:off x="0" y="4026746"/>
          <a:ext cx="5210615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D1308D-D14C-CB44-AD28-EAF90E1C328E}">
      <dsp:nvSpPr>
        <dsp:cNvPr id="0" name=""/>
        <dsp:cNvSpPr/>
      </dsp:nvSpPr>
      <dsp:spPr>
        <a:xfrm>
          <a:off x="260530" y="3642986"/>
          <a:ext cx="3647431" cy="7675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864" tIns="0" rIns="137864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PIGMENTATION EFFECTS</a:t>
          </a:r>
        </a:p>
      </dsp:txBody>
      <dsp:txXfrm>
        <a:off x="297997" y="3680453"/>
        <a:ext cx="3572497" cy="69258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2BBF78-186C-9344-ADD1-E44B06C16B3B}">
      <dsp:nvSpPr>
        <dsp:cNvPr id="0" name=""/>
        <dsp:cNvSpPr/>
      </dsp:nvSpPr>
      <dsp:spPr>
        <a:xfrm>
          <a:off x="3167" y="780117"/>
          <a:ext cx="3087885" cy="10312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LPHA 1 –  LOCATED ON IRIS DILATOR MUSCLE</a:t>
          </a:r>
        </a:p>
      </dsp:txBody>
      <dsp:txXfrm>
        <a:off x="3167" y="780117"/>
        <a:ext cx="3087885" cy="1031291"/>
      </dsp:txXfrm>
    </dsp:sp>
    <dsp:sp modelId="{32253E0D-66EB-C24E-A27F-33DFC8D630FD}">
      <dsp:nvSpPr>
        <dsp:cNvPr id="0" name=""/>
        <dsp:cNvSpPr/>
      </dsp:nvSpPr>
      <dsp:spPr>
        <a:xfrm>
          <a:off x="3167" y="1811408"/>
          <a:ext cx="3087885" cy="7466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VASOCONSTRICTION</a:t>
          </a:r>
        </a:p>
      </dsp:txBody>
      <dsp:txXfrm>
        <a:off x="3167" y="1811408"/>
        <a:ext cx="3087885" cy="746639"/>
      </dsp:txXfrm>
    </dsp:sp>
    <dsp:sp modelId="{24C52C17-756F-8A41-AF52-BC5F28FB95F4}">
      <dsp:nvSpPr>
        <dsp:cNvPr id="0" name=""/>
        <dsp:cNvSpPr/>
      </dsp:nvSpPr>
      <dsp:spPr>
        <a:xfrm>
          <a:off x="3523357" y="780117"/>
          <a:ext cx="3087885" cy="10312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LPHA 2 - CONSTRICT CILIARY VASCULARATURE TO REDUCE AQUEOUS PRODUCTION</a:t>
          </a:r>
        </a:p>
      </dsp:txBody>
      <dsp:txXfrm>
        <a:off x="3523357" y="780117"/>
        <a:ext cx="3087885" cy="1031291"/>
      </dsp:txXfrm>
    </dsp:sp>
    <dsp:sp modelId="{FBA50DD3-C4C0-014C-8E50-4C7F86B47613}">
      <dsp:nvSpPr>
        <dsp:cNvPr id="0" name=""/>
        <dsp:cNvSpPr/>
      </dsp:nvSpPr>
      <dsp:spPr>
        <a:xfrm>
          <a:off x="3523357" y="1811408"/>
          <a:ext cx="3087885" cy="7466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VASOCONSTRICTION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UELLER’S MUSCLE </a:t>
          </a:r>
        </a:p>
      </dsp:txBody>
      <dsp:txXfrm>
        <a:off x="3523357" y="1811408"/>
        <a:ext cx="3087885" cy="746639"/>
      </dsp:txXfrm>
    </dsp:sp>
    <dsp:sp modelId="{E0556E64-FB74-1D44-86E1-10E6080C17B2}">
      <dsp:nvSpPr>
        <dsp:cNvPr id="0" name=""/>
        <dsp:cNvSpPr/>
      </dsp:nvSpPr>
      <dsp:spPr>
        <a:xfrm>
          <a:off x="7043546" y="780117"/>
          <a:ext cx="3087885" cy="10312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BETA 2 – LOCATED ON NPCE, ENHANCES AQUEOUS SECREATION VIA ACTIVE SECRETION</a:t>
          </a:r>
        </a:p>
      </dsp:txBody>
      <dsp:txXfrm>
        <a:off x="7043546" y="780117"/>
        <a:ext cx="3087885" cy="1031291"/>
      </dsp:txXfrm>
    </dsp:sp>
    <dsp:sp modelId="{3ED326A9-2337-C140-A50C-16EB3BE2B379}">
      <dsp:nvSpPr>
        <dsp:cNvPr id="0" name=""/>
        <dsp:cNvSpPr/>
      </dsp:nvSpPr>
      <dsp:spPr>
        <a:xfrm>
          <a:off x="7043546" y="1811408"/>
          <a:ext cx="3087885" cy="7466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AE6BCD-7296-504D-AAEF-677793C03118}">
      <dsp:nvSpPr>
        <dsp:cNvPr id="0" name=""/>
        <dsp:cNvSpPr/>
      </dsp:nvSpPr>
      <dsp:spPr>
        <a:xfrm>
          <a:off x="0" y="267986"/>
          <a:ext cx="5210615" cy="13478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DECREASE AQUEOUS PRODUCTION</a:t>
          </a:r>
        </a:p>
      </dsp:txBody>
      <dsp:txXfrm>
        <a:off x="65796" y="333782"/>
        <a:ext cx="5079023" cy="1216248"/>
      </dsp:txXfrm>
    </dsp:sp>
    <dsp:sp modelId="{793271C6-123A-F649-A57C-C24FBCB45C64}">
      <dsp:nvSpPr>
        <dsp:cNvPr id="0" name=""/>
        <dsp:cNvSpPr/>
      </dsp:nvSpPr>
      <dsp:spPr>
        <a:xfrm>
          <a:off x="0" y="1719506"/>
          <a:ext cx="5210615" cy="1347840"/>
        </a:xfrm>
        <a:prstGeom prst="roundRect">
          <a:avLst/>
        </a:prstGeom>
        <a:solidFill>
          <a:schemeClr val="accent2">
            <a:hueOff val="-754403"/>
            <a:satOff val="5301"/>
            <a:lumOff val="-3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BURNING, METALLIC TASTE</a:t>
          </a:r>
        </a:p>
      </dsp:txBody>
      <dsp:txXfrm>
        <a:off x="65796" y="1785302"/>
        <a:ext cx="5079023" cy="1216248"/>
      </dsp:txXfrm>
    </dsp:sp>
    <dsp:sp modelId="{1C5D8B40-6BCD-204A-BBF1-1D9FF219ADB4}">
      <dsp:nvSpPr>
        <dsp:cNvPr id="0" name=""/>
        <dsp:cNvSpPr/>
      </dsp:nvSpPr>
      <dsp:spPr>
        <a:xfrm>
          <a:off x="0" y="3171026"/>
          <a:ext cx="5210615" cy="1347840"/>
        </a:xfrm>
        <a:prstGeom prst="roundRect">
          <a:avLst/>
        </a:prstGeom>
        <a:solidFill>
          <a:schemeClr val="accent2">
            <a:hueOff val="-1508806"/>
            <a:satOff val="10601"/>
            <a:lumOff val="-7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SULFA ALLERGY</a:t>
          </a:r>
        </a:p>
      </dsp:txBody>
      <dsp:txXfrm>
        <a:off x="65796" y="3236822"/>
        <a:ext cx="5079023" cy="12162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D3B3C7E-BC2D-4436-8B03-AC421FA66787}"/>
              </a:ext>
            </a:extLst>
          </p:cNvPr>
          <p:cNvSpPr/>
          <p:nvPr/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66887E-4265-46F7-9DE0-605FFFC90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5130" y="1066800"/>
            <a:ext cx="8112369" cy="2073119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2800" cap="all" spc="39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DB1A74-54F5-45CA-8922-87FFD5751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5804" y="4876802"/>
            <a:ext cx="7821637" cy="102869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BE6EF-9D0F-4ABF-B92C-E967FE3F1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AB150-954C-4F02-89AC-DA7163D7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79965" y="6245352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16270-CBD7-4ACC-BFC5-9CADE7226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9B5D0C1-066E-4C02-A6B8-59FAE4A19724}"/>
              </a:ext>
            </a:extLst>
          </p:cNvPr>
          <p:cNvGrpSpPr/>
          <p:nvPr/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</a:extLst>
            </p:cNvPr>
            <p:cNvSpPr/>
            <p:nvPr/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</a:extLst>
            </p:cNvPr>
            <p:cNvCxnSpPr/>
            <p:nvPr/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</a:extLst>
            </p:cNvPr>
            <p:cNvCxnSpPr/>
            <p:nvPr/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3088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B1126-542A-43AD-8078-EE3565165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A5F98B-5F32-4561-BFBC-9F6E5DA0A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28700" y="2161903"/>
            <a:ext cx="10134600" cy="37435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3D0DD-B04E-4E48-8EE1-51E46131A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1352D-F9C0-4442-9601-A09A7655E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C0801-9C45-40AE-AB33-5742CDA4D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2192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946561-59BF-4566-AD2C-9B05C4771D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96250" y="723899"/>
            <a:ext cx="2271849" cy="54102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DF7870-6CBD-47E2-854C-68141BAA1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23900" y="723899"/>
            <a:ext cx="8302534" cy="54102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2FAF3-C106-49CB-A845-1FC7F7313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D5CCC-00E8-48FA-91A6-921E7B644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7E1751-E7AA-406D-A977-1ACEF1FBD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272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15F23E-1C3C-4A70-ABC8-CD33251967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81586" y="1896618"/>
            <a:ext cx="6228829" cy="306476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71011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E9BD80A-B555-472A-9786-809B173DD3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5488" y="6156829"/>
            <a:ext cx="1278624" cy="6291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EC67E2-24B3-413A-A819-B285A7A52156}"/>
              </a:ext>
            </a:extLst>
          </p:cNvPr>
          <p:cNvSpPr/>
          <p:nvPr userDrawn="1"/>
        </p:nvSpPr>
        <p:spPr>
          <a:xfrm>
            <a:off x="0" y="0"/>
            <a:ext cx="12191998" cy="1257299"/>
          </a:xfrm>
          <a:prstGeom prst="rect">
            <a:avLst/>
          </a:prstGeom>
          <a:gradFill flip="none" rotWithShape="1">
            <a:gsLst>
              <a:gs pos="50000">
                <a:schemeClr val="bg1">
                  <a:alpha val="67000"/>
                </a:schemeClr>
              </a:gs>
              <a:gs pos="0">
                <a:schemeClr val="accent1">
                  <a:alpha val="34000"/>
                </a:schemeClr>
              </a:gs>
              <a:gs pos="100000">
                <a:schemeClr val="accent2">
                  <a:alpha val="67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550863" y="420901"/>
            <a:ext cx="11090274" cy="415498"/>
          </a:xfrm>
          <a:noFill/>
        </p:spPr>
        <p:txBody>
          <a:bodyPr wrap="square" lIns="0" tIns="0" rIns="0" bIns="0" anchor="ctr">
            <a:sp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Content Placeholder 2"/>
          <p:cNvSpPr>
            <a:spLocks noGrp="1"/>
          </p:cNvSpPr>
          <p:nvPr userDrawn="1">
            <p:ph idx="1"/>
          </p:nvPr>
        </p:nvSpPr>
        <p:spPr>
          <a:xfrm>
            <a:off x="550863" y="1684021"/>
            <a:ext cx="11090274" cy="4374453"/>
          </a:xfrm>
          <a:noFill/>
        </p:spPr>
        <p:txBody>
          <a:bodyPr>
            <a:normAutofit/>
          </a:bodyPr>
          <a:lstStyle>
            <a:lvl1pPr marL="228600" indent="-228600">
              <a:lnSpc>
                <a:spcPct val="95000"/>
              </a:lnSpc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/>
            </a:lvl1pPr>
            <a:lvl2pPr marL="685800" indent="-228600">
              <a:lnSpc>
                <a:spcPct val="95000"/>
              </a:lnSpc>
              <a:buFont typeface="Arial" panose="020B0604020202020204" pitchFamily="34" charset="0"/>
              <a:buChar char="–"/>
              <a:defRPr sz="2000"/>
            </a:lvl2pPr>
            <a:lvl3pPr>
              <a:lnSpc>
                <a:spcPct val="95000"/>
              </a:lnSpc>
              <a:defRPr sz="1800"/>
            </a:lvl3pPr>
            <a:lvl4pPr marL="1600200" indent="-228600">
              <a:lnSpc>
                <a:spcPct val="95000"/>
              </a:lnSpc>
              <a:buFont typeface="Wingdings" panose="05000000000000000000" pitchFamily="2" charset="2"/>
              <a:buChar char="§"/>
              <a:defRPr sz="1600"/>
            </a:lvl4pPr>
            <a:lvl5pPr marL="2057400" indent="-228600">
              <a:lnSpc>
                <a:spcPct val="95000"/>
              </a:lnSpc>
              <a:buFont typeface="Arial" panose="020B0604020202020204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E2BD77-9537-4822-B76C-E07B757BF45B}"/>
              </a:ext>
            </a:extLst>
          </p:cNvPr>
          <p:cNvSpPr/>
          <p:nvPr userDrawn="1"/>
        </p:nvSpPr>
        <p:spPr>
          <a:xfrm flipV="1">
            <a:off x="0" y="1211580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7D51F34-A6FF-4701-8BED-D379ADF5D7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5479"/>
            <a:ext cx="77152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50E03D9-F8F5-DD43-9A54-CF7D3CA2A74E}" type="slidenum">
              <a:rPr lang="en-US" smtClean="0">
                <a:solidFill>
                  <a:srgbClr val="041A71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41A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230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2DC87-4B97-4A7C-BC4C-6E7724561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B59FD9-57FD-4ABA-9FCD-7954052534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7BD40E-B0AA-47B8-900F-488A8AEC1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5E623C-1E35-4485-A5B4-A71969BE7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5C6BB9-EF4F-465E-985B-34521F68C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274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7F5577-D71B-4279-B07A-62F703E5D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48367D-C35C-4023-BEBE-F834D033B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BFCF8A-B8C6-496A-98A5-BBB52DB7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CDE45C10-227D-42DF-A888-EEFD3784FA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900" y="750338"/>
            <a:ext cx="4580642" cy="5494694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A214944-8898-48BC-AE6F-065DA7BBB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580478" y="4714704"/>
            <a:ext cx="867485" cy="115439"/>
            <a:chOff x="8910933" y="1861308"/>
            <a:chExt cx="867485" cy="11543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4B3AAB-30C4-441D-B481-D253F8325953}"/>
                </a:ext>
              </a:extLst>
            </p:cNvPr>
            <p:cNvSpPr/>
            <p:nvPr/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DCB6176-5585-40BC-BC9C-CA625F989F1B}"/>
                </a:ext>
              </a:extLst>
            </p:cNvPr>
            <p:cNvCxnSpPr/>
            <p:nvPr/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7C4F1D9-97D8-43DD-A319-C56367F97FCE}"/>
                </a:ext>
              </a:extLst>
            </p:cNvPr>
            <p:cNvCxnSpPr/>
            <p:nvPr/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5E64ED-B373-4866-B5A2-E805D3168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291" y="1274475"/>
            <a:ext cx="3761832" cy="2823913"/>
          </a:xfrm>
        </p:spPr>
        <p:txBody>
          <a:bodyPr anchor="b">
            <a:normAutofit/>
          </a:bodyPr>
          <a:lstStyle>
            <a:lvl1pPr algn="ctr">
              <a:defRPr sz="3200" cap="all" spc="6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6D6168-DDAE-41B2-A0D5-42185A2D02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56756" y="2730304"/>
            <a:ext cx="4383030" cy="13973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5913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825EB-71EE-41B3-89D2-47A0C7C35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2F7D-C4AD-4BD4-AAC8-F0223EE4A3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37305" y="2155369"/>
            <a:ext cx="4953000" cy="399832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0FB088-28C6-4667-8DF2-0DE32AE3E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55369"/>
            <a:ext cx="4953000" cy="39983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36095F-AE34-4E94-B722-E3A1205AE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06A8E6-BD94-48EA-8F35-DA0DF910A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478AEF-56B8-49F5-81E8-663B1FFA0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20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F873F-001F-4254-97F3-05329E6A7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555171"/>
            <a:ext cx="10134600" cy="11355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7B575-060F-4296-A28A-93DA109F9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37306" y="1801620"/>
            <a:ext cx="4849036" cy="814387"/>
          </a:xfrm>
        </p:spPr>
        <p:txBody>
          <a:bodyPr anchor="b">
            <a:normAutofit/>
          </a:bodyPr>
          <a:lstStyle>
            <a:lvl1pPr marL="0" indent="0">
              <a:buNone/>
              <a:defRPr sz="18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581A51-F4D1-4A02-9918-C416F820B6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37306" y="2619103"/>
            <a:ext cx="4849036" cy="35149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2916D0-3DFE-455D-9888-3FDEFD3DE0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50108" y="1801620"/>
            <a:ext cx="4904585" cy="814387"/>
          </a:xfrm>
        </p:spPr>
        <p:txBody>
          <a:bodyPr anchor="b">
            <a:normAutofit/>
          </a:bodyPr>
          <a:lstStyle>
            <a:lvl1pPr marL="0" indent="0">
              <a:buNone/>
              <a:defRPr sz="18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93D763-0643-4A48-8007-93391C59F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50108" y="2619103"/>
            <a:ext cx="4904585" cy="35149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A2D07B-3A5D-41C2-83B8-BD1AD6522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2C1367-FE5A-4CDD-B85B-724FFFE5B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2F244-23EB-4E1A-B74F-77F23F879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636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876C0A-BEF4-4DE4-A9D2-C60298FC7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7C0AC-3C98-4D68-AE72-CFFA1638CC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7722A-E2E4-45D2-8A20-4853ED68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6B9201-B20B-4412-B745-F2F6A9148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639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C4889A-9ABE-4409-BAD8-F84C36C1F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DA5A70-FE21-4CB6-A67B-1DC798E9E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4AD11-7FD2-432C-A6AB-395BE9275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356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397CF-9CDD-4E78-8F35-A2FFE7867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457200"/>
            <a:ext cx="37052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194BFE-7A85-4123-B0F7-4DB1C141CE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66800"/>
            <a:ext cx="6172200" cy="48386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1EFD6D-1929-4A73-A860-22A36FF5C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37052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B399A5-94A1-4452-AFF0-918BDA8B1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9589D8-DD83-406C-A77A-176D23993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E46024-82ED-40EF-8846-F6CC44BC5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1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D12FA-83A4-42AF-98D7-312C4C5A7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457200"/>
            <a:ext cx="37052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CF1DC8-2932-4C6E-BFBB-8BA1C95984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066800"/>
            <a:ext cx="5942012" cy="48387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6E0000-EF01-46A5-8A71-25FB7EA3F9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37052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1AD40B-9246-4532-9F73-5BA9061C3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E6B9A0-5B1C-4F7B-828A-EF74E5147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E99FB-C932-4165-A612-8B302D8F7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53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CE7638-D991-46E7-BF2C-67D1AC82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0"/>
            <a:ext cx="10134600" cy="1288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7C6B9C-4923-4DAB-9748-D5CD289EB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8700" y="2161903"/>
            <a:ext cx="10134600" cy="3969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78CF6-4B33-40E4-B881-5F4C56837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4765" y="6245032"/>
            <a:ext cx="524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AE857E-F564-4539-9984-10435B6140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841" y="6245032"/>
            <a:ext cx="2659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C485584D-7D79-4248-9986-4CA35242F944}" type="datetimeFigureOut">
              <a:rPr lang="en-US" smtClean="0"/>
              <a:t>10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1EABEF-B998-4B11-A878-8F492F8E3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9964" y="6245033"/>
            <a:ext cx="41122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EB54D17-3792-403D-9127-495845021D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60920 w 12192000"/>
              <a:gd name="connsiteY0" fmla="*/ 157606 h 6858000"/>
              <a:gd name="connsiteX1" fmla="*/ 160920 w 12192000"/>
              <a:gd name="connsiteY1" fmla="*/ 6700394 h 6858000"/>
              <a:gd name="connsiteX2" fmla="*/ 12031081 w 12192000"/>
              <a:gd name="connsiteY2" fmla="*/ 6700394 h 6858000"/>
              <a:gd name="connsiteX3" fmla="*/ 12031081 w 12192000"/>
              <a:gd name="connsiteY3" fmla="*/ 1576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60920" y="157606"/>
                </a:moveTo>
                <a:lnTo>
                  <a:pt x="160920" y="6700394"/>
                </a:lnTo>
                <a:lnTo>
                  <a:pt x="12031081" y="6700394"/>
                </a:lnTo>
                <a:lnTo>
                  <a:pt x="12031081" y="1576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484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72" r:id="rId6"/>
    <p:sldLayoutId id="2147483667" r:id="rId7"/>
    <p:sldLayoutId id="2147483668" r:id="rId8"/>
    <p:sldLayoutId id="2147483669" r:id="rId9"/>
    <p:sldLayoutId id="2147483671" r:id="rId10"/>
    <p:sldLayoutId id="2147483670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2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Tx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274320" indent="-228600" algn="l" defTabSz="914400" rtl="0" eaLnBrk="1" latinLnBrk="0" hangingPunct="1">
        <a:lnSpc>
          <a:spcPct val="110000"/>
        </a:lnSpc>
        <a:spcBef>
          <a:spcPts val="500"/>
        </a:spcBef>
        <a:buSzPct val="85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27432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4864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3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F0CAD46-2E46-44EB-A063-C05881768C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Closeup photo of a part of a circuit board">
            <a:extLst>
              <a:ext uri="{FF2B5EF4-FFF2-40B4-BE49-F238E27FC236}">
                <a16:creationId xmlns:a16="http://schemas.microsoft.com/office/drawing/2014/main" id="{8EFD3049-48AE-4F05-A983-D688A66836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200" b="4214"/>
          <a:stretch/>
        </p:blipFill>
        <p:spPr>
          <a:xfrm>
            <a:off x="20" y="10"/>
            <a:ext cx="12191980" cy="685798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E8A7E9B-3161-4AE7-B85C-EE3D7786D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10134600" cy="4800600"/>
          </a:xfrm>
          <a:prstGeom prst="rect">
            <a:avLst/>
          </a:prstGeom>
          <a:solidFill>
            <a:schemeClr val="bg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4E0325-7D5A-DA40-8E8F-79968F517E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39253" y="1942391"/>
            <a:ext cx="7113494" cy="1486609"/>
          </a:xfrm>
        </p:spPr>
        <p:txBody>
          <a:bodyPr>
            <a:normAutofit fontScale="90000"/>
          </a:bodyPr>
          <a:lstStyle/>
          <a:p>
            <a:r>
              <a:rPr lang="en-US" sz="4800" dirty="0"/>
              <a:t>Pharmacolog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D7D892-6FBE-D345-9082-B09EF86DA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58989" y="4424305"/>
            <a:ext cx="5074022" cy="972222"/>
          </a:xfrm>
        </p:spPr>
        <p:txBody>
          <a:bodyPr>
            <a:normAutofit/>
          </a:bodyPr>
          <a:lstStyle/>
          <a:p>
            <a:r>
              <a:rPr lang="en-US" dirty="0"/>
              <a:t>Maria </a:t>
            </a:r>
            <a:r>
              <a:rPr lang="en-US" dirty="0" err="1"/>
              <a:t>Pribis</a:t>
            </a:r>
            <a:r>
              <a:rPr lang="en-US" dirty="0"/>
              <a:t>, OD, FAAO, Diplomate ABO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3E45FAB-3768-4529-B0E8-A0E9BE5E3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8" y="3891005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FF68CFF-0675-43D9-8EF2-EAC1F19D24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1414FA8-D7DF-4B14-AD83-846AB2899B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38B88A0-A01D-4106-8E09-1AEB09B04E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57688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AC9656C-AED6-412E-9226-B7F1964005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BC820D-D527-47CE-ABB0-DA0BB5B04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DD315B-AEF9-490C-9438-C80F80405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" y="159026"/>
            <a:ext cx="11891037" cy="6542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03ED44-E2C2-6649-903D-0D5EA252F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028700"/>
            <a:ext cx="4038600" cy="4800600"/>
          </a:xfrm>
        </p:spPr>
        <p:txBody>
          <a:bodyPr anchor="ctr">
            <a:normAutofit/>
          </a:bodyPr>
          <a:lstStyle/>
          <a:p>
            <a:pPr algn="ctr"/>
            <a:r>
              <a:rPr lang="en-US" dirty="0" err="1"/>
              <a:t>Vuity</a:t>
            </a:r>
            <a:r>
              <a:rPr lang="en-US" dirty="0"/>
              <a:t> (pilocarpine 1.25% HCL)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2A70E97-A915-D5E4-5902-F75D3DD0861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8171641"/>
              </p:ext>
            </p:extLst>
          </p:nvPr>
        </p:nvGraphicFramePr>
        <p:xfrm>
          <a:off x="6095999" y="868197"/>
          <a:ext cx="5343083" cy="51216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 descr="Diagram&#10;&#10;Description automatically generated with low confidence">
            <a:extLst>
              <a:ext uri="{FF2B5EF4-FFF2-40B4-BE49-F238E27FC236}">
                <a16:creationId xmlns:a16="http://schemas.microsoft.com/office/drawing/2014/main" id="{BC354FED-7E12-634B-B5B7-BCFAFF8A1D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645" y="500064"/>
            <a:ext cx="4856999" cy="567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652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BB1F2F-437B-1645-869A-E25B29055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PILOCARPIN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4EBA16F-FD45-427E-BC6A-C618FFEE73C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1264440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6014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A5C618-42A0-5F4F-826F-A6D32122E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SYMPATHETIC ACTIVIT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229422D-0721-4D9F-8285-0C2321FB9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793402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5933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09D6A-1122-A349-9AC2-877B47838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HOLINERGIC ANTAGONI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4F6B89-CA38-224E-8486-B5CFE6509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YDRIASIS – CAUTION IN NARROW ANG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Y EYE</a:t>
            </a:r>
          </a:p>
        </p:txBody>
      </p:sp>
    </p:spTree>
    <p:extLst>
      <p:ext uri="{BB962C8B-B14F-4D97-AF65-F5344CB8AC3E}">
        <p14:creationId xmlns:p14="http://schemas.microsoft.com/office/powerpoint/2010/main" val="26477556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5B081-2C53-4749-BB90-58FC94F6E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NTI-HISTAM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16F5D4-1038-3A4C-9E60-77F8E65ECB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GENERATION VS 2</a:t>
            </a:r>
            <a:r>
              <a:rPr lang="en-US" baseline="30000" dirty="0"/>
              <a:t>ND</a:t>
            </a:r>
            <a:r>
              <a:rPr lang="en-US" dirty="0"/>
              <a:t> GENE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YSTEMIC VS TOPICAL</a:t>
            </a: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6BB53DFD-DD92-AC44-A7AC-DF0511EBA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5156" y="3120723"/>
            <a:ext cx="3500757" cy="3331304"/>
          </a:xfrm>
          <a:prstGeom prst="rect">
            <a:avLst/>
          </a:prstGeom>
        </p:spPr>
      </p:pic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92A6E2FD-F357-814A-B719-2C7AC39132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6088" y="3120723"/>
            <a:ext cx="3262312" cy="362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106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27D10-0B63-3640-8CBA-ED35B5D06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ANTI-PSYCHOTIC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010C4E5-72BF-434A-82D2-A8A74978A1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3100372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737468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picture containing close&#10;&#10;Description automatically generated">
            <a:extLst>
              <a:ext uri="{FF2B5EF4-FFF2-40B4-BE49-F238E27FC236}">
                <a16:creationId xmlns:a16="http://schemas.microsoft.com/office/drawing/2014/main" id="{BF7E6677-F2DF-7642-AF2E-90F1FBFC4D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34752" y="1162050"/>
            <a:ext cx="7522496" cy="4967288"/>
          </a:xfrm>
        </p:spPr>
      </p:pic>
    </p:spTree>
    <p:extLst>
      <p:ext uri="{BB962C8B-B14F-4D97-AF65-F5344CB8AC3E}">
        <p14:creationId xmlns:p14="http://schemas.microsoft.com/office/powerpoint/2010/main" val="10686682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969F8-1422-E141-A602-F369BE3FF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800" dirty="0"/>
              <a:t>Autonomic Re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85D8CBB-61A0-AF43-934D-9EFCE9ACFB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5364439"/>
              </p:ext>
            </p:extLst>
          </p:nvPr>
        </p:nvGraphicFramePr>
        <p:xfrm>
          <a:off x="1028700" y="2162174"/>
          <a:ext cx="10134600" cy="29658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78200">
                  <a:extLst>
                    <a:ext uri="{9D8B030D-6E8A-4147-A177-3AD203B41FA5}">
                      <a16:colId xmlns:a16="http://schemas.microsoft.com/office/drawing/2014/main" val="2878565192"/>
                    </a:ext>
                  </a:extLst>
                </a:gridCol>
                <a:gridCol w="3378200">
                  <a:extLst>
                    <a:ext uri="{9D8B030D-6E8A-4147-A177-3AD203B41FA5}">
                      <a16:colId xmlns:a16="http://schemas.microsoft.com/office/drawing/2014/main" val="2106619452"/>
                    </a:ext>
                  </a:extLst>
                </a:gridCol>
                <a:gridCol w="3378200">
                  <a:extLst>
                    <a:ext uri="{9D8B030D-6E8A-4147-A177-3AD203B41FA5}">
                      <a16:colId xmlns:a16="http://schemas.microsoft.com/office/drawing/2014/main" val="2965531569"/>
                    </a:ext>
                  </a:extLst>
                </a:gridCol>
              </a:tblGrid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5765071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LPHA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ITARO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4445603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r>
                        <a:rPr lang="en-US" dirty="0"/>
                        <a:t>ADRENERG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LPHA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HIBI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528083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TA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ITA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358882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TA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ITA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854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4766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8">
            <a:extLst>
              <a:ext uri="{FF2B5EF4-FFF2-40B4-BE49-F238E27FC236}">
                <a16:creationId xmlns:a16="http://schemas.microsoft.com/office/drawing/2014/main" id="{7B22176A-41DB-4D9A-9B6F-F2296F1ED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774A8DF5-445E-49C5-B10A-8DF5FEFBC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9A4E38D9-EFB8-40B5-B42B-514FBF180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4DBD8C-7BDA-104C-BA0D-CAAD3D325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1" y="963919"/>
            <a:ext cx="10134600" cy="1036994"/>
          </a:xfrm>
        </p:spPr>
        <p:txBody>
          <a:bodyPr anchor="b">
            <a:normAutofit/>
          </a:bodyPr>
          <a:lstStyle/>
          <a:p>
            <a:pPr algn="ctr"/>
            <a:r>
              <a:rPr lang="en-US" dirty="0"/>
              <a:t>ADRENERGIC ACTIVIT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87FFE71-34DC-4C53-AE0F-6B141D081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7" y="2169459"/>
            <a:ext cx="867485" cy="115439"/>
            <a:chOff x="8910933" y="1861308"/>
            <a:chExt cx="867485" cy="1154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7DF92F1-0E20-46AC-BB8F-F66926B40C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FA14CB4-8459-4D23-B4FF-8F9868E3FC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0C763F-37C4-4E00-AEB2-8867F4AA25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ontent Placeholder 2">
            <a:extLst>
              <a:ext uri="{FF2B5EF4-FFF2-40B4-BE49-F238E27FC236}">
                <a16:creationId xmlns:a16="http://schemas.microsoft.com/office/drawing/2014/main" id="{DBD7A6F8-CF59-4B76-A40E-75C261EE1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8989653"/>
              </p:ext>
            </p:extLst>
          </p:nvPr>
        </p:nvGraphicFramePr>
        <p:xfrm>
          <a:off x="1028700" y="2749258"/>
          <a:ext cx="10134600" cy="3338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77148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48EF695B-E7DE-4164-862A-9CD06DFB0E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35899" y="723900"/>
            <a:ext cx="4580642" cy="5494694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27FD23-EAEF-EA4D-AEDB-51242BA9F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0882" y="1000366"/>
            <a:ext cx="3995397" cy="1239627"/>
          </a:xfrm>
        </p:spPr>
        <p:txBody>
          <a:bodyPr anchor="b">
            <a:normAutofit/>
          </a:bodyPr>
          <a:lstStyle/>
          <a:p>
            <a:pPr algn="ctr"/>
            <a:r>
              <a:rPr lang="en-US" dirty="0"/>
              <a:t>ALPHA 2 AGON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4E1EA8-74AA-7A40-8430-E9882813E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79965" y="2884395"/>
            <a:ext cx="3766670" cy="2469140"/>
          </a:xfrm>
        </p:spPr>
        <p:txBody>
          <a:bodyPr>
            <a:norm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/>
              <a:t>APRACLONIDINE</a:t>
            </a:r>
          </a:p>
          <a:p>
            <a:pPr marL="617220" lvl="1" indent="-342900" algn="ctr"/>
            <a:r>
              <a:rPr lang="en-US"/>
              <a:t>TACHYPHYLAXIS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/>
              <a:t>BRIMONIDINE</a:t>
            </a:r>
          </a:p>
          <a:p>
            <a:pPr marL="617220" lvl="1" indent="-342900" algn="ctr"/>
            <a:r>
              <a:rPr lang="en-US"/>
              <a:t>FOLLICULAR CONJUNCTIVITIS</a:t>
            </a:r>
          </a:p>
        </p:txBody>
      </p:sp>
      <p:pic>
        <p:nvPicPr>
          <p:cNvPr id="5" name="Picture 4" descr="Close up of a person's lips&#10;&#10;Description automatically generated with low confidence">
            <a:extLst>
              <a:ext uri="{FF2B5EF4-FFF2-40B4-BE49-F238E27FC236}">
                <a16:creationId xmlns:a16="http://schemas.microsoft.com/office/drawing/2014/main" id="{7EE76C6D-D3B4-4644-AEDE-BEE76D2037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01" y="1268686"/>
            <a:ext cx="5372100" cy="44051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5ADB088-C125-457F-9C61-DFE21DCEF4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692478" y="2543656"/>
            <a:ext cx="867485" cy="115439"/>
            <a:chOff x="8910933" y="1861308"/>
            <a:chExt cx="867485" cy="11543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E177E3-7A50-4A27-B466-79375BA19D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F53D207-3550-41FA-BBC0-A5220E7346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EF5A581-4EC8-4E1B-BF64-8A1FE8530F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7057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D2ACF-5899-9049-9836-6B8572BCA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		Financial 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0FF6-129E-014A-A1FC-1E60189D46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vartis Advisory Board (Xiidra)</a:t>
            </a:r>
          </a:p>
          <a:p>
            <a:r>
              <a:rPr lang="en-US" dirty="0"/>
              <a:t>RVL pharmaceuticals – speaker, advisory boards (</a:t>
            </a:r>
            <a:r>
              <a:rPr lang="en-US" dirty="0" err="1"/>
              <a:t>Upneeq</a:t>
            </a:r>
            <a:r>
              <a:rPr lang="en-US" dirty="0"/>
              <a:t>)</a:t>
            </a:r>
          </a:p>
          <a:p>
            <a:r>
              <a:rPr lang="en-US" dirty="0"/>
              <a:t>Alcon contact lenses – speaker, advisory boards</a:t>
            </a:r>
          </a:p>
          <a:p>
            <a:r>
              <a:rPr lang="en-US" dirty="0"/>
              <a:t>Santen pharmaceuticals – speaker, advisory boards (</a:t>
            </a:r>
            <a:r>
              <a:rPr lang="en-US" dirty="0" err="1"/>
              <a:t>TobraDex</a:t>
            </a:r>
            <a:r>
              <a:rPr lang="en-US" dirty="0"/>
              <a:t> ST, </a:t>
            </a:r>
            <a:r>
              <a:rPr lang="en-US" dirty="0" err="1"/>
              <a:t>Flarex</a:t>
            </a:r>
            <a:r>
              <a:rPr lang="en-US" dirty="0"/>
              <a:t>, </a:t>
            </a:r>
            <a:r>
              <a:rPr lang="en-US" dirty="0" err="1"/>
              <a:t>Zerviate</a:t>
            </a:r>
            <a:r>
              <a:rPr lang="en-US" dirty="0"/>
              <a:t>)</a:t>
            </a:r>
          </a:p>
          <a:p>
            <a:r>
              <a:rPr lang="en-US" dirty="0"/>
              <a:t>Tarsus – speaker (</a:t>
            </a:r>
            <a:r>
              <a:rPr lang="en-US" dirty="0" err="1"/>
              <a:t>xdemvy</a:t>
            </a:r>
            <a:r>
              <a:rPr lang="en-US" dirty="0"/>
              <a:t>)</a:t>
            </a:r>
          </a:p>
          <a:p>
            <a:r>
              <a:rPr lang="en-US" dirty="0" err="1"/>
              <a:t>Viatris</a:t>
            </a:r>
            <a:r>
              <a:rPr lang="en-US" dirty="0"/>
              <a:t> – speaker (</a:t>
            </a:r>
            <a:r>
              <a:rPr lang="en-US" dirty="0" err="1"/>
              <a:t>Tyrvaya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3491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, toiletry&#10;&#10;Description automatically generated">
            <a:extLst>
              <a:ext uri="{FF2B5EF4-FFF2-40B4-BE49-F238E27FC236}">
                <a16:creationId xmlns:a16="http://schemas.microsoft.com/office/drawing/2014/main" id="{411C76A5-3676-A648-927B-13B01B6C2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96597" y="1089376"/>
            <a:ext cx="3112356" cy="3968750"/>
          </a:xfrm>
        </p:spPr>
      </p:pic>
      <p:pic>
        <p:nvPicPr>
          <p:cNvPr id="7" name="Picture 6" descr="A collage of a person's eyes&#10;&#10;Description automatically generated with medium confidence">
            <a:extLst>
              <a:ext uri="{FF2B5EF4-FFF2-40B4-BE49-F238E27FC236}">
                <a16:creationId xmlns:a16="http://schemas.microsoft.com/office/drawing/2014/main" id="{6B9FAD30-80BB-D64C-A9DC-37B14E3C6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125" y="1001888"/>
            <a:ext cx="4440541" cy="485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8997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78173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B995F2CD-9626-4690-88CC-04EC949B229C}"/>
              </a:ext>
            </a:extLst>
          </p:cNvPr>
          <p:cNvSpPr/>
          <p:nvPr/>
        </p:nvSpPr>
        <p:spPr>
          <a:xfrm>
            <a:off x="7921624" y="4027726"/>
            <a:ext cx="3686176" cy="589770"/>
          </a:xfrm>
          <a:prstGeom prst="round2SameRect">
            <a:avLst>
              <a:gd name="adj1" fmla="val 0"/>
              <a:gd name="adj2" fmla="val 2292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R="0" lvl="0" algn="ctr">
              <a:spcBef>
                <a:spcPts val="800"/>
              </a:spcBef>
              <a:spcAft>
                <a:spcPts val="800"/>
              </a:spcAft>
              <a:buClr>
                <a:srgbClr val="0099CC"/>
              </a:buClr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Upneeq instillation (2 hr)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8E2905F0-D8F9-47EC-A2C1-2E6DA9597C58}"/>
              </a:ext>
            </a:extLst>
          </p:cNvPr>
          <p:cNvSpPr/>
          <p:nvPr/>
        </p:nvSpPr>
        <p:spPr>
          <a:xfrm>
            <a:off x="584200" y="4027726"/>
            <a:ext cx="3590192" cy="589770"/>
          </a:xfrm>
          <a:prstGeom prst="round2SameRect">
            <a:avLst>
              <a:gd name="adj1" fmla="val 0"/>
              <a:gd name="adj2" fmla="val 253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Before Upneeq instillation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FAFCCE-8055-4BB4-99E0-72639E424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FAFCCE-8055-4BB4-99E0-72639E424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0454B8-A209-4DB4-AC7E-EFF7D0A91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pneeq</a:t>
            </a:r>
            <a:r>
              <a:rPr lang="en-US" baseline="30000" dirty="0"/>
              <a:t>®</a:t>
            </a:r>
            <a:r>
              <a:rPr lang="en-US" dirty="0"/>
              <a:t> Lifts the Upper Eyelids*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39B90197-F112-42E4-A6F9-5648025BAF3D}"/>
              </a:ext>
            </a:extLst>
          </p:cNvPr>
          <p:cNvSpPr txBox="1">
            <a:spLocks/>
          </p:cNvSpPr>
          <p:nvPr/>
        </p:nvSpPr>
        <p:spPr>
          <a:xfrm>
            <a:off x="550863" y="6493469"/>
            <a:ext cx="11142457" cy="364531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VL Pharmaceuticals, Inc. Data on file. 2019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Upneeq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(oxymetazoline hydrochloride ophthalmic solution), 0.1%. [Prescribing Information]. RVL Pharmaceuticals, Inc. 2020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48694B-1DF2-4398-8DC7-7235EC8C4A8F}"/>
              </a:ext>
            </a:extLst>
          </p:cNvPr>
          <p:cNvSpPr/>
          <p:nvPr/>
        </p:nvSpPr>
        <p:spPr>
          <a:xfrm>
            <a:off x="0" y="2184732"/>
            <a:ext cx="12192000" cy="1562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2C01ADB-42CB-425C-9D64-3EBDA441FF77}"/>
              </a:ext>
            </a:extLst>
          </p:cNvPr>
          <p:cNvSpPr/>
          <p:nvPr/>
        </p:nvSpPr>
        <p:spPr>
          <a:xfrm>
            <a:off x="3914774" y="2862538"/>
            <a:ext cx="4314825" cy="1355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BD013D5-8C50-4FE0-9953-B74DF7CC1FDA}"/>
              </a:ext>
            </a:extLst>
          </p:cNvPr>
          <p:cNvSpPr/>
          <p:nvPr/>
        </p:nvSpPr>
        <p:spPr>
          <a:xfrm>
            <a:off x="5553668" y="1657221"/>
            <a:ext cx="1084665" cy="11005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898266-5419-4D3E-8AB2-FE51516AA23C}"/>
              </a:ext>
            </a:extLst>
          </p:cNvPr>
          <p:cNvSpPr txBox="1"/>
          <p:nvPr/>
        </p:nvSpPr>
        <p:spPr>
          <a:xfrm>
            <a:off x="3593299" y="1310685"/>
            <a:ext cx="5005402" cy="3245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d</a:t>
            </a:r>
          </a:p>
        </p:txBody>
      </p:sp>
      <p:pic>
        <p:nvPicPr>
          <p:cNvPr id="37" name="Picture 36" descr="A picture containing indoor, photo, close, looking&#10;&#10;Description automatically generated">
            <a:extLst>
              <a:ext uri="{FF2B5EF4-FFF2-40B4-BE49-F238E27FC236}">
                <a16:creationId xmlns:a16="http://schemas.microsoft.com/office/drawing/2014/main" id="{9F6E75BA-4C1B-4777-BC52-6EB70A47AAA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" t="7117" r="86880" b="67572"/>
          <a:stretch/>
        </p:blipFill>
        <p:spPr>
          <a:xfrm>
            <a:off x="5698644" y="1881047"/>
            <a:ext cx="794713" cy="652936"/>
          </a:xfrm>
          <a:prstGeom prst="roundRect">
            <a:avLst>
              <a:gd name="adj" fmla="val 50000"/>
            </a:avLst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2B86521-B29A-431F-BC4F-2DF360E233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201" t="14293" r="11667" b="11929"/>
          <a:stretch/>
        </p:blipFill>
        <p:spPr>
          <a:xfrm>
            <a:off x="4933231" y="2921729"/>
            <a:ext cx="2325538" cy="1235218"/>
          </a:xfrm>
          <a:prstGeom prst="rect">
            <a:avLst/>
          </a:prstGeom>
        </p:spPr>
      </p:pic>
      <p:pic>
        <p:nvPicPr>
          <p:cNvPr id="5" name="Picture 4" descr="Close up of a person's eye&#10;&#10;Description automatically generated with medium confidence">
            <a:extLst>
              <a:ext uri="{FF2B5EF4-FFF2-40B4-BE49-F238E27FC236}">
                <a16:creationId xmlns:a16="http://schemas.microsoft.com/office/drawing/2014/main" id="{70E7EF0D-73F2-4872-A3FA-9791F68BB3D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2883077"/>
            <a:ext cx="3602891" cy="1355574"/>
          </a:xfrm>
          <a:prstGeom prst="round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51D4E80-50E2-4800-80F3-4B2967F0FCCF}"/>
              </a:ext>
            </a:extLst>
          </p:cNvPr>
          <p:cNvGrpSpPr/>
          <p:nvPr/>
        </p:nvGrpSpPr>
        <p:grpSpPr>
          <a:xfrm rot="16200000">
            <a:off x="4051971" y="3353658"/>
            <a:ext cx="373334" cy="373334"/>
            <a:chOff x="2124375" y="3153641"/>
            <a:chExt cx="423552" cy="42355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F78A8B5-2FBA-4890-9FF6-811A55B08F1D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E62AD9C2-31BC-44CC-9759-63A966AC2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1" name="Picture 10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DF76714-1263-4055-B10D-9B8B993BC0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623" y="2865900"/>
            <a:ext cx="3686177" cy="1372751"/>
          </a:xfrm>
          <a:prstGeom prst="round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6CE62E0-1DD6-4515-80A6-09A24AA1C2DB}"/>
              </a:ext>
            </a:extLst>
          </p:cNvPr>
          <p:cNvGrpSpPr/>
          <p:nvPr/>
        </p:nvGrpSpPr>
        <p:grpSpPr>
          <a:xfrm rot="16200000">
            <a:off x="7658879" y="3353658"/>
            <a:ext cx="373334" cy="373334"/>
            <a:chOff x="2124375" y="3153641"/>
            <a:chExt cx="423552" cy="42355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16EB71-FFB0-4411-9C48-760770FB15EB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209">
              <a:extLst>
                <a:ext uri="{FF2B5EF4-FFF2-40B4-BE49-F238E27FC236}">
                  <a16:creationId xmlns:a16="http://schemas.microsoft.com/office/drawing/2014/main" id="{94999342-F881-4759-B721-08983D7FC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337E708-CAFE-411C-940F-E0B0B7C26909}"/>
              </a:ext>
            </a:extLst>
          </p:cNvPr>
          <p:cNvSpPr txBox="1"/>
          <p:nvPr/>
        </p:nvSpPr>
        <p:spPr>
          <a:xfrm>
            <a:off x="584200" y="4682595"/>
            <a:ext cx="11142457" cy="681926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9525" lvl="1"/>
            <a:r>
              <a:rPr lang="en-US" sz="1200" dirty="0">
                <a:effectLst/>
                <a:ea typeface="Times New Roman" panose="02020603050405020304" pitchFamily="18" charset="0"/>
              </a:rPr>
              <a:t>*Individual results may vary. Images are of an actual patient. Average upper eyelid lift with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Upneeq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in clinical trials was 1mm.</a:t>
            </a:r>
            <a:r>
              <a:rPr lang="en-US" sz="1200" baseline="30000" dirty="0">
                <a:effectLst/>
                <a:ea typeface="Times New Roman" panose="02020603050405020304" pitchFamily="18" charset="0"/>
              </a:rPr>
              <a:t>1</a:t>
            </a: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ea typeface="Times New Roman" panose="02020603050405020304" pitchFamily="18" charset="0"/>
              </a:rPr>
              <a:t>Patients should not touch the tip of the single patient-use container to their eye or to any surface, in order to avoid eye injury or contamination of the solutio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5F8A1-0C4D-4270-9F78-ADEDC66DE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50E03D9-F8F5-DD43-9A54-CF7D3CA2A74E}" type="slidenum">
              <a:rPr lang="en-US" smtClean="0">
                <a:solidFill>
                  <a:srgbClr val="041A71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41A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8979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B995F2CD-9626-4690-88CC-04EC949B229C}"/>
              </a:ext>
            </a:extLst>
          </p:cNvPr>
          <p:cNvSpPr/>
          <p:nvPr/>
        </p:nvSpPr>
        <p:spPr>
          <a:xfrm>
            <a:off x="7921624" y="4027726"/>
            <a:ext cx="3686176" cy="589770"/>
          </a:xfrm>
          <a:prstGeom prst="round2SameRect">
            <a:avLst>
              <a:gd name="adj1" fmla="val 0"/>
              <a:gd name="adj2" fmla="val 2292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R="0" lvl="0" algn="ctr">
              <a:spcBef>
                <a:spcPts val="800"/>
              </a:spcBef>
              <a:spcAft>
                <a:spcPts val="800"/>
              </a:spcAft>
              <a:buClr>
                <a:srgbClr val="0099CC"/>
              </a:buClr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Upneeq instillation (2 hr)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8E2905F0-D8F9-47EC-A2C1-2E6DA9597C58}"/>
              </a:ext>
            </a:extLst>
          </p:cNvPr>
          <p:cNvSpPr/>
          <p:nvPr/>
        </p:nvSpPr>
        <p:spPr>
          <a:xfrm>
            <a:off x="584200" y="4027726"/>
            <a:ext cx="3590192" cy="589770"/>
          </a:xfrm>
          <a:prstGeom prst="round2SameRect">
            <a:avLst>
              <a:gd name="adj1" fmla="val 0"/>
              <a:gd name="adj2" fmla="val 253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Before Upneeq instillation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FAFCCE-8055-4BB4-99E0-72639E424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FAFCCE-8055-4BB4-99E0-72639E424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0454B8-A209-4DB4-AC7E-EFF7D0A91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pneeq</a:t>
            </a:r>
            <a:r>
              <a:rPr lang="en-US" baseline="30000" dirty="0"/>
              <a:t>®</a:t>
            </a:r>
            <a:r>
              <a:rPr lang="en-US" dirty="0"/>
              <a:t> Lifts the Upper Eyelids*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48694B-1DF2-4398-8DC7-7235EC8C4A8F}"/>
              </a:ext>
            </a:extLst>
          </p:cNvPr>
          <p:cNvSpPr/>
          <p:nvPr/>
        </p:nvSpPr>
        <p:spPr>
          <a:xfrm>
            <a:off x="0" y="2184732"/>
            <a:ext cx="12192000" cy="1562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2C01ADB-42CB-425C-9D64-3EBDA441FF77}"/>
              </a:ext>
            </a:extLst>
          </p:cNvPr>
          <p:cNvSpPr/>
          <p:nvPr/>
        </p:nvSpPr>
        <p:spPr>
          <a:xfrm>
            <a:off x="3914774" y="2862538"/>
            <a:ext cx="4314825" cy="1355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BD013D5-8C50-4FE0-9953-B74DF7CC1FDA}"/>
              </a:ext>
            </a:extLst>
          </p:cNvPr>
          <p:cNvSpPr/>
          <p:nvPr/>
        </p:nvSpPr>
        <p:spPr>
          <a:xfrm>
            <a:off x="5553668" y="1657221"/>
            <a:ext cx="1084665" cy="11005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898266-5419-4D3E-8AB2-FE51516AA23C}"/>
              </a:ext>
            </a:extLst>
          </p:cNvPr>
          <p:cNvSpPr txBox="1"/>
          <p:nvPr/>
        </p:nvSpPr>
        <p:spPr>
          <a:xfrm>
            <a:off x="3593299" y="1310685"/>
            <a:ext cx="5005402" cy="3245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rat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2B86521-B29A-431F-BC4F-2DF360E233F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201" t="14293" r="11667" b="11929"/>
          <a:stretch/>
        </p:blipFill>
        <p:spPr>
          <a:xfrm>
            <a:off x="4933231" y="2921729"/>
            <a:ext cx="2325538" cy="1235218"/>
          </a:xfrm>
          <a:prstGeom prst="rect">
            <a:avLst/>
          </a:prstGeom>
        </p:spPr>
      </p:pic>
      <p:pic>
        <p:nvPicPr>
          <p:cNvPr id="30" name="Picture 29" descr="A picture containing indoor, photo, close, looking&#10;&#10;Description automatically generated">
            <a:extLst>
              <a:ext uri="{FF2B5EF4-FFF2-40B4-BE49-F238E27FC236}">
                <a16:creationId xmlns:a16="http://schemas.microsoft.com/office/drawing/2014/main" id="{B9C845A8-B120-4F63-88E4-02827D8CA8E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31" t="54616" r="45017" b="11731"/>
          <a:stretch/>
        </p:blipFill>
        <p:spPr>
          <a:xfrm>
            <a:off x="559725" y="2853538"/>
            <a:ext cx="3602891" cy="1371600"/>
          </a:xfrm>
          <a:prstGeom prst="roundRect">
            <a:avLst/>
          </a:prstGeom>
          <a:ln w="28575">
            <a:noFill/>
          </a:ln>
          <a:effectLst/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51D4E80-50E2-4800-80F3-4B2967F0FCCF}"/>
              </a:ext>
            </a:extLst>
          </p:cNvPr>
          <p:cNvGrpSpPr/>
          <p:nvPr/>
        </p:nvGrpSpPr>
        <p:grpSpPr>
          <a:xfrm rot="16200000">
            <a:off x="4051971" y="3353658"/>
            <a:ext cx="373334" cy="373334"/>
            <a:chOff x="2124375" y="3153641"/>
            <a:chExt cx="423552" cy="42355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F78A8B5-2FBA-4890-9FF6-811A55B08F1D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E62AD9C2-31BC-44CC-9759-63A966AC2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8" name="Picture 27" descr="A picture containing indoor, photo, close, looking&#10;&#10;Description automatically generated">
            <a:extLst>
              <a:ext uri="{FF2B5EF4-FFF2-40B4-BE49-F238E27FC236}">
                <a16:creationId xmlns:a16="http://schemas.microsoft.com/office/drawing/2014/main" id="{64C4A2D1-36FA-4372-8AAD-1166CDBEFCB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62" t="54775" r="2866" b="12993"/>
          <a:stretch/>
        </p:blipFill>
        <p:spPr>
          <a:xfrm>
            <a:off x="7909849" y="2865900"/>
            <a:ext cx="3697952" cy="1371600"/>
          </a:xfrm>
          <a:prstGeom prst="roundRect">
            <a:avLst/>
          </a:prstGeom>
          <a:ln w="28575">
            <a:noFill/>
          </a:ln>
          <a:effectLst/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6CE62E0-1DD6-4515-80A6-09A24AA1C2DB}"/>
              </a:ext>
            </a:extLst>
          </p:cNvPr>
          <p:cNvGrpSpPr/>
          <p:nvPr/>
        </p:nvGrpSpPr>
        <p:grpSpPr>
          <a:xfrm rot="16200000">
            <a:off x="7658879" y="3353658"/>
            <a:ext cx="373334" cy="373334"/>
            <a:chOff x="2124375" y="3153641"/>
            <a:chExt cx="423552" cy="42355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16EB71-FFB0-4411-9C48-760770FB15EB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209">
              <a:extLst>
                <a:ext uri="{FF2B5EF4-FFF2-40B4-BE49-F238E27FC236}">
                  <a16:creationId xmlns:a16="http://schemas.microsoft.com/office/drawing/2014/main" id="{94999342-F881-4759-B721-08983D7FC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4" name="Picture 23" descr="A picture containing indoor, photo, close, looking&#10;&#10;Description automatically generated">
            <a:extLst>
              <a:ext uri="{FF2B5EF4-FFF2-40B4-BE49-F238E27FC236}">
                <a16:creationId xmlns:a16="http://schemas.microsoft.com/office/drawing/2014/main" id="{78794B42-49F9-4324-AF43-377B1C5505A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4" t="59819" r="87502" b="17128"/>
          <a:stretch/>
        </p:blipFill>
        <p:spPr>
          <a:xfrm>
            <a:off x="5698644" y="1881064"/>
            <a:ext cx="794713" cy="652902"/>
          </a:xfrm>
          <a:custGeom>
            <a:avLst/>
            <a:gdLst>
              <a:gd name="connsiteX0" fmla="*/ 326468 w 794713"/>
              <a:gd name="connsiteY0" fmla="*/ 0 h 652902"/>
              <a:gd name="connsiteX1" fmla="*/ 468245 w 794713"/>
              <a:gd name="connsiteY1" fmla="*/ 0 h 652902"/>
              <a:gd name="connsiteX2" fmla="*/ 794713 w 794713"/>
              <a:gd name="connsiteY2" fmla="*/ 326468 h 652902"/>
              <a:gd name="connsiteX3" fmla="*/ 534040 w 794713"/>
              <a:gd name="connsiteY3" fmla="*/ 646303 h 652902"/>
              <a:gd name="connsiteX4" fmla="*/ 468583 w 794713"/>
              <a:gd name="connsiteY4" fmla="*/ 652902 h 652902"/>
              <a:gd name="connsiteX5" fmla="*/ 326131 w 794713"/>
              <a:gd name="connsiteY5" fmla="*/ 652902 h 652902"/>
              <a:gd name="connsiteX6" fmla="*/ 260674 w 794713"/>
              <a:gd name="connsiteY6" fmla="*/ 646303 h 652902"/>
              <a:gd name="connsiteX7" fmla="*/ 0 w 794713"/>
              <a:gd name="connsiteY7" fmla="*/ 326468 h 652902"/>
              <a:gd name="connsiteX8" fmla="*/ 326468 w 794713"/>
              <a:gd name="connsiteY8" fmla="*/ 0 h 65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713" h="652902">
                <a:moveTo>
                  <a:pt x="326468" y="0"/>
                </a:moveTo>
                <a:lnTo>
                  <a:pt x="468245" y="0"/>
                </a:lnTo>
                <a:cubicBezTo>
                  <a:pt x="648548" y="0"/>
                  <a:pt x="794713" y="146165"/>
                  <a:pt x="794713" y="326468"/>
                </a:cubicBezTo>
                <a:cubicBezTo>
                  <a:pt x="794713" y="484233"/>
                  <a:pt x="682806" y="615861"/>
                  <a:pt x="534040" y="646303"/>
                </a:cubicBezTo>
                <a:lnTo>
                  <a:pt x="468583" y="652902"/>
                </a:lnTo>
                <a:lnTo>
                  <a:pt x="326131" y="652902"/>
                </a:lnTo>
                <a:lnTo>
                  <a:pt x="260674" y="646303"/>
                </a:lnTo>
                <a:cubicBezTo>
                  <a:pt x="111908" y="615861"/>
                  <a:pt x="0" y="484233"/>
                  <a:pt x="0" y="326468"/>
                </a:cubicBezTo>
                <a:cubicBezTo>
                  <a:pt x="0" y="146165"/>
                  <a:pt x="146165" y="0"/>
                  <a:pt x="326468" y="0"/>
                </a:cubicBez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6DEF1D-4CA4-446C-9BE7-5B5FDFBFD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50E03D9-F8F5-DD43-9A54-CF7D3CA2A74E}" type="slidenum">
              <a:rPr lang="en-US" smtClean="0">
                <a:solidFill>
                  <a:srgbClr val="041A71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041A71"/>
              </a:solidFill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186581B5-EAB4-4868-82A3-E21EF4196016}"/>
              </a:ext>
            </a:extLst>
          </p:cNvPr>
          <p:cNvSpPr txBox="1">
            <a:spLocks/>
          </p:cNvSpPr>
          <p:nvPr/>
        </p:nvSpPr>
        <p:spPr>
          <a:xfrm>
            <a:off x="550863" y="6493469"/>
            <a:ext cx="11142457" cy="364531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VL Pharmaceuticals, Inc. Data on file. 2019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Upneeq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(oxymetazoline hydrochloride ophthalmic solution), 0.1%. [Prescribing Information]. RVL Pharmaceuticals, Inc. 2020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A6A732-619A-4F2D-928E-2304113FA823}"/>
              </a:ext>
            </a:extLst>
          </p:cNvPr>
          <p:cNvSpPr txBox="1"/>
          <p:nvPr/>
        </p:nvSpPr>
        <p:spPr>
          <a:xfrm>
            <a:off x="584200" y="4682595"/>
            <a:ext cx="11142457" cy="681926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9525" lvl="1"/>
            <a:r>
              <a:rPr lang="en-US" sz="1200" dirty="0">
                <a:effectLst/>
                <a:ea typeface="Times New Roman" panose="02020603050405020304" pitchFamily="18" charset="0"/>
              </a:rPr>
              <a:t>*Individual results may vary. Images are of an actual patient. Average upper eyelid lift with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Upneeq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in clinical trials was 1mm.</a:t>
            </a:r>
            <a:r>
              <a:rPr lang="en-US" sz="1200" baseline="30000" dirty="0">
                <a:effectLst/>
                <a:ea typeface="Times New Roman" panose="02020603050405020304" pitchFamily="18" charset="0"/>
              </a:rPr>
              <a:t>1</a:t>
            </a: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ea typeface="Times New Roman" panose="02020603050405020304" pitchFamily="18" charset="0"/>
              </a:rPr>
              <a:t>Patients should not touch the tip of the single patient-use container to their eye or to any surface, in order to avoid eye injury or contamination of the solution.</a:t>
            </a:r>
          </a:p>
        </p:txBody>
      </p:sp>
    </p:spTree>
    <p:extLst>
      <p:ext uri="{BB962C8B-B14F-4D97-AF65-F5344CB8AC3E}">
        <p14:creationId xmlns:p14="http://schemas.microsoft.com/office/powerpoint/2010/main" val="40100601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B995F2CD-9626-4690-88CC-04EC949B229C}"/>
              </a:ext>
            </a:extLst>
          </p:cNvPr>
          <p:cNvSpPr/>
          <p:nvPr/>
        </p:nvSpPr>
        <p:spPr>
          <a:xfrm>
            <a:off x="7921624" y="4027726"/>
            <a:ext cx="3686176" cy="589770"/>
          </a:xfrm>
          <a:prstGeom prst="round2SameRect">
            <a:avLst>
              <a:gd name="adj1" fmla="val 0"/>
              <a:gd name="adj2" fmla="val 2292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R="0" lvl="0" algn="ctr">
              <a:spcBef>
                <a:spcPts val="800"/>
              </a:spcBef>
              <a:spcAft>
                <a:spcPts val="800"/>
              </a:spcAft>
              <a:buClr>
                <a:srgbClr val="0099CC"/>
              </a:buClr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Upneeq instillation (2 hr)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8E2905F0-D8F9-47EC-A2C1-2E6DA9597C58}"/>
              </a:ext>
            </a:extLst>
          </p:cNvPr>
          <p:cNvSpPr/>
          <p:nvPr/>
        </p:nvSpPr>
        <p:spPr>
          <a:xfrm>
            <a:off x="584200" y="4027726"/>
            <a:ext cx="3590192" cy="589770"/>
          </a:xfrm>
          <a:prstGeom prst="round2SameRect">
            <a:avLst>
              <a:gd name="adj1" fmla="val 0"/>
              <a:gd name="adj2" fmla="val 253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Before Upneeq instillation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FAFCCE-8055-4BB4-99E0-72639E424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FAFCCE-8055-4BB4-99E0-72639E424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0454B8-A209-4DB4-AC7E-EFF7D0A91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pneeq</a:t>
            </a:r>
            <a:r>
              <a:rPr lang="en-US" baseline="30000" dirty="0"/>
              <a:t>®</a:t>
            </a:r>
            <a:r>
              <a:rPr lang="en-US" dirty="0"/>
              <a:t> Lifts the Upper Eyelids*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48694B-1DF2-4398-8DC7-7235EC8C4A8F}"/>
              </a:ext>
            </a:extLst>
          </p:cNvPr>
          <p:cNvSpPr/>
          <p:nvPr/>
        </p:nvSpPr>
        <p:spPr>
          <a:xfrm>
            <a:off x="0" y="2184732"/>
            <a:ext cx="12192000" cy="1562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2C01ADB-42CB-425C-9D64-3EBDA441FF77}"/>
              </a:ext>
            </a:extLst>
          </p:cNvPr>
          <p:cNvSpPr/>
          <p:nvPr/>
        </p:nvSpPr>
        <p:spPr>
          <a:xfrm>
            <a:off x="3914774" y="2862538"/>
            <a:ext cx="4314825" cy="1355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BD013D5-8C50-4FE0-9953-B74DF7CC1FDA}"/>
              </a:ext>
            </a:extLst>
          </p:cNvPr>
          <p:cNvSpPr/>
          <p:nvPr/>
        </p:nvSpPr>
        <p:spPr>
          <a:xfrm>
            <a:off x="5553668" y="1657221"/>
            <a:ext cx="1084665" cy="11005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898266-5419-4D3E-8AB2-FE51516AA23C}"/>
              </a:ext>
            </a:extLst>
          </p:cNvPr>
          <p:cNvSpPr txBox="1"/>
          <p:nvPr/>
        </p:nvSpPr>
        <p:spPr>
          <a:xfrm>
            <a:off x="3593299" y="1310685"/>
            <a:ext cx="5005402" cy="3245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e</a:t>
            </a:r>
          </a:p>
        </p:txBody>
      </p:sp>
      <p:pic>
        <p:nvPicPr>
          <p:cNvPr id="26" name="Picture 2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14B31D5-C204-4E89-A18F-4EDA5686AFA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8" t="25416" r="87464" b="28335"/>
          <a:stretch/>
        </p:blipFill>
        <p:spPr>
          <a:xfrm>
            <a:off x="5698644" y="1881047"/>
            <a:ext cx="794713" cy="652901"/>
          </a:xfrm>
          <a:custGeom>
            <a:avLst/>
            <a:gdLst>
              <a:gd name="connsiteX0" fmla="*/ 326468 w 794713"/>
              <a:gd name="connsiteY0" fmla="*/ 0 h 652901"/>
              <a:gd name="connsiteX1" fmla="*/ 468245 w 794713"/>
              <a:gd name="connsiteY1" fmla="*/ 0 h 652901"/>
              <a:gd name="connsiteX2" fmla="*/ 794713 w 794713"/>
              <a:gd name="connsiteY2" fmla="*/ 326468 h 652901"/>
              <a:gd name="connsiteX3" fmla="*/ 534040 w 794713"/>
              <a:gd name="connsiteY3" fmla="*/ 646303 h 652901"/>
              <a:gd name="connsiteX4" fmla="*/ 468592 w 794713"/>
              <a:gd name="connsiteY4" fmla="*/ 652901 h 652901"/>
              <a:gd name="connsiteX5" fmla="*/ 326121 w 794713"/>
              <a:gd name="connsiteY5" fmla="*/ 652901 h 652901"/>
              <a:gd name="connsiteX6" fmla="*/ 260673 w 794713"/>
              <a:gd name="connsiteY6" fmla="*/ 646303 h 652901"/>
              <a:gd name="connsiteX7" fmla="*/ 0 w 794713"/>
              <a:gd name="connsiteY7" fmla="*/ 326468 h 652901"/>
              <a:gd name="connsiteX8" fmla="*/ 326468 w 794713"/>
              <a:gd name="connsiteY8" fmla="*/ 0 h 65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713" h="652901">
                <a:moveTo>
                  <a:pt x="326468" y="0"/>
                </a:moveTo>
                <a:lnTo>
                  <a:pt x="468245" y="0"/>
                </a:lnTo>
                <a:cubicBezTo>
                  <a:pt x="648548" y="0"/>
                  <a:pt x="794713" y="146165"/>
                  <a:pt x="794713" y="326468"/>
                </a:cubicBezTo>
                <a:cubicBezTo>
                  <a:pt x="794713" y="484233"/>
                  <a:pt x="682805" y="615861"/>
                  <a:pt x="534040" y="646303"/>
                </a:cubicBezTo>
                <a:lnTo>
                  <a:pt x="468592" y="652901"/>
                </a:lnTo>
                <a:lnTo>
                  <a:pt x="326121" y="652901"/>
                </a:lnTo>
                <a:lnTo>
                  <a:pt x="260673" y="646303"/>
                </a:lnTo>
                <a:cubicBezTo>
                  <a:pt x="111908" y="615861"/>
                  <a:pt x="0" y="484233"/>
                  <a:pt x="0" y="326468"/>
                </a:cubicBezTo>
                <a:cubicBezTo>
                  <a:pt x="0" y="146165"/>
                  <a:pt x="146165" y="0"/>
                  <a:pt x="326468" y="0"/>
                </a:cubicBezTo>
                <a:close/>
              </a:path>
            </a:pathLst>
          </a:cu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2B86521-B29A-431F-BC4F-2DF360E233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201" t="14293" r="11667" b="11929"/>
          <a:stretch/>
        </p:blipFill>
        <p:spPr>
          <a:xfrm>
            <a:off x="4933231" y="2921729"/>
            <a:ext cx="2325538" cy="1235218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75D76D1-9D92-4E50-8F4C-2D6554DF6F7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90" t="16145" r="45210" b="20027"/>
          <a:stretch/>
        </p:blipFill>
        <p:spPr>
          <a:xfrm>
            <a:off x="580976" y="2865900"/>
            <a:ext cx="3590191" cy="1363587"/>
          </a:xfrm>
          <a:prstGeom prst="roundRect">
            <a:avLst/>
          </a:prstGeom>
          <a:ln w="28575">
            <a:noFill/>
          </a:ln>
          <a:effectLst/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51D4E80-50E2-4800-80F3-4B2967F0FCCF}"/>
              </a:ext>
            </a:extLst>
          </p:cNvPr>
          <p:cNvGrpSpPr/>
          <p:nvPr/>
        </p:nvGrpSpPr>
        <p:grpSpPr>
          <a:xfrm rot="16200000">
            <a:off x="4051971" y="3353658"/>
            <a:ext cx="373334" cy="373334"/>
            <a:chOff x="2124375" y="3153641"/>
            <a:chExt cx="423552" cy="42355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F78A8B5-2FBA-4890-9FF6-811A55B08F1D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E62AD9C2-31BC-44CC-9759-63A966AC2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5" name="Picture 2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0486049-1515-489E-B60E-B0788D2AA78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9" t="12798" r="3023" b="22679"/>
          <a:stretch/>
        </p:blipFill>
        <p:spPr>
          <a:xfrm>
            <a:off x="7921624" y="2865900"/>
            <a:ext cx="3686176" cy="1363587"/>
          </a:xfrm>
          <a:prstGeom prst="roundRect">
            <a:avLst/>
          </a:prstGeom>
          <a:ln w="28575">
            <a:noFill/>
          </a:ln>
          <a:effectLst/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6CE62E0-1DD6-4515-80A6-09A24AA1C2DB}"/>
              </a:ext>
            </a:extLst>
          </p:cNvPr>
          <p:cNvGrpSpPr/>
          <p:nvPr/>
        </p:nvGrpSpPr>
        <p:grpSpPr>
          <a:xfrm rot="16200000">
            <a:off x="7658879" y="3353658"/>
            <a:ext cx="373334" cy="373334"/>
            <a:chOff x="2124375" y="3153641"/>
            <a:chExt cx="423552" cy="42355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16EB71-FFB0-4411-9C48-760770FB15EB}"/>
                </a:ext>
              </a:extLst>
            </p:cNvPr>
            <p:cNvSpPr/>
            <p:nvPr/>
          </p:nvSpPr>
          <p:spPr>
            <a:xfrm>
              <a:off x="2124375" y="3153641"/>
              <a:ext cx="423552" cy="423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209">
              <a:extLst>
                <a:ext uri="{FF2B5EF4-FFF2-40B4-BE49-F238E27FC236}">
                  <a16:creationId xmlns:a16="http://schemas.microsoft.com/office/drawing/2014/main" id="{94999342-F881-4759-B721-08983D7FC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7241" y="3215850"/>
              <a:ext cx="297821" cy="29913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80 w 96"/>
                <a:gd name="T11" fmla="*/ 35 h 96"/>
                <a:gd name="T12" fmla="*/ 50 w 96"/>
                <a:gd name="T13" fmla="*/ 71 h 96"/>
                <a:gd name="T14" fmla="*/ 48 w 96"/>
                <a:gd name="T15" fmla="*/ 72 h 96"/>
                <a:gd name="T16" fmla="*/ 47 w 96"/>
                <a:gd name="T17" fmla="*/ 71 h 96"/>
                <a:gd name="T18" fmla="*/ 17 w 96"/>
                <a:gd name="T19" fmla="*/ 35 h 96"/>
                <a:gd name="T20" fmla="*/ 16 w 96"/>
                <a:gd name="T21" fmla="*/ 33 h 96"/>
                <a:gd name="T22" fmla="*/ 18 w 96"/>
                <a:gd name="T23" fmla="*/ 32 h 96"/>
                <a:gd name="T24" fmla="*/ 34 w 96"/>
                <a:gd name="T25" fmla="*/ 32 h 96"/>
                <a:gd name="T26" fmla="*/ 36 w 96"/>
                <a:gd name="T27" fmla="*/ 33 h 96"/>
                <a:gd name="T28" fmla="*/ 48 w 96"/>
                <a:gd name="T29" fmla="*/ 49 h 96"/>
                <a:gd name="T30" fmla="*/ 60 w 96"/>
                <a:gd name="T31" fmla="*/ 33 h 96"/>
                <a:gd name="T32" fmla="*/ 62 w 96"/>
                <a:gd name="T33" fmla="*/ 32 h 96"/>
                <a:gd name="T34" fmla="*/ 78 w 96"/>
                <a:gd name="T35" fmla="*/ 32 h 96"/>
                <a:gd name="T36" fmla="*/ 80 w 96"/>
                <a:gd name="T37" fmla="*/ 33 h 96"/>
                <a:gd name="T38" fmla="*/ 80 w 96"/>
                <a:gd name="T39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80" y="35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8" y="72"/>
                  </a:cubicBezTo>
                  <a:cubicBezTo>
                    <a:pt x="47" y="72"/>
                    <a:pt x="47" y="72"/>
                    <a:pt x="47" y="7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6" y="33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9" y="32"/>
                    <a:pt x="80" y="32"/>
                    <a:pt x="80" y="33"/>
                  </a:cubicBezTo>
                  <a:cubicBezTo>
                    <a:pt x="80" y="34"/>
                    <a:pt x="80" y="35"/>
                    <a:pt x="80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8EF787-97AC-4BC6-B4E9-DD8796EA3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50E03D9-F8F5-DD43-9A54-CF7D3CA2A74E}" type="slidenum">
              <a:rPr lang="en-US" smtClean="0">
                <a:solidFill>
                  <a:srgbClr val="041A71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041A71"/>
              </a:solidFill>
            </a:endParaRPr>
          </a:p>
        </p:txBody>
      </p:sp>
      <p:sp>
        <p:nvSpPr>
          <p:cNvPr id="30" name="Footer Placeholder 2">
            <a:extLst>
              <a:ext uri="{FF2B5EF4-FFF2-40B4-BE49-F238E27FC236}">
                <a16:creationId xmlns:a16="http://schemas.microsoft.com/office/drawing/2014/main" id="{38D2DBE7-8669-4708-8FAD-F15FC6975205}"/>
              </a:ext>
            </a:extLst>
          </p:cNvPr>
          <p:cNvSpPr txBox="1">
            <a:spLocks/>
          </p:cNvSpPr>
          <p:nvPr/>
        </p:nvSpPr>
        <p:spPr>
          <a:xfrm>
            <a:off x="550863" y="6493469"/>
            <a:ext cx="11142457" cy="364531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VL Pharmaceuticals, Inc. Data on file. 2019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Upneeq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(oxymetazoline hydrochloride ophthalmic solution), 0.1%. [Prescribing Information]. RVL Pharmaceuticals, Inc. 2020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39798E-F03E-4114-95F3-7DA091339B19}"/>
              </a:ext>
            </a:extLst>
          </p:cNvPr>
          <p:cNvSpPr txBox="1"/>
          <p:nvPr/>
        </p:nvSpPr>
        <p:spPr>
          <a:xfrm>
            <a:off x="584200" y="4682595"/>
            <a:ext cx="11142457" cy="681926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9525" lvl="1"/>
            <a:r>
              <a:rPr lang="en-US" sz="1200" dirty="0">
                <a:effectLst/>
                <a:ea typeface="Times New Roman" panose="02020603050405020304" pitchFamily="18" charset="0"/>
              </a:rPr>
              <a:t>*Individual results may vary. Images are of an actual patient. Average upper eyelid lift with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Upneeq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in clinical trials was 1mm.</a:t>
            </a:r>
            <a:r>
              <a:rPr lang="en-US" sz="1200" baseline="30000" dirty="0">
                <a:effectLst/>
                <a:ea typeface="Times New Roman" panose="02020603050405020304" pitchFamily="18" charset="0"/>
              </a:rPr>
              <a:t>1</a:t>
            </a: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Times New Roman" panose="02020603050405020304" pitchFamily="18" charset="0"/>
            </a:endParaRPr>
          </a:p>
          <a:p>
            <a:pPr marL="9525" marR="0" lvl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ea typeface="Times New Roman" panose="02020603050405020304" pitchFamily="18" charset="0"/>
              </a:rPr>
              <a:t>Patients should not touch the tip of the single patient-use container to their eye or to any surface, in order to avoid eye injury or contamination of the solution.</a:t>
            </a:r>
          </a:p>
        </p:txBody>
      </p:sp>
    </p:spTree>
    <p:extLst>
      <p:ext uri="{BB962C8B-B14F-4D97-AF65-F5344CB8AC3E}">
        <p14:creationId xmlns:p14="http://schemas.microsoft.com/office/powerpoint/2010/main" val="8878338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27FD23-EAEF-EA4D-AEDB-51242BA9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WHORL KERATOPATH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4E1EA8-74AA-7A40-8430-E9882813E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AI 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LOROQU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YDROXYCHLOROQU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MIODARO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DOMETHAC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AMOXIFEN</a:t>
            </a:r>
          </a:p>
        </p:txBody>
      </p:sp>
      <p:pic>
        <p:nvPicPr>
          <p:cNvPr id="6" name="Picture 5" descr="A close-up of a person's eye&#10;&#10;Description automatically generated with medium confidence">
            <a:extLst>
              <a:ext uri="{FF2B5EF4-FFF2-40B4-BE49-F238E27FC236}">
                <a16:creationId xmlns:a16="http://schemas.microsoft.com/office/drawing/2014/main" id="{AB810157-E1B7-EE4D-A138-6360A73CE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338" y="2161903"/>
            <a:ext cx="7005335" cy="469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3663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5784C-2336-944A-89F2-AD7E9CF79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HYDROXYCHLOROQU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78837-D732-E942-930E-14D58293B7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HYDROXYCHLOROQUINE (HCQ) (I.E., PLAQUENIL®) INHIBITS THE ENZYME PHOSPHOLIPASE A2 IN ORDER TO REDUCE INFLAM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USED TO TREAT</a:t>
            </a:r>
          </a:p>
          <a:p>
            <a:pPr marL="560070" lvl="1" indent="-285750"/>
            <a:r>
              <a:rPr lang="en-US" sz="1600" dirty="0"/>
              <a:t>MALARIA</a:t>
            </a:r>
          </a:p>
          <a:p>
            <a:pPr marL="560070" lvl="1" indent="-285750"/>
            <a:r>
              <a:rPr lang="en-US" sz="1600" dirty="0"/>
              <a:t>SYSTEMIC LUPUS ERYTHEMATOSUS</a:t>
            </a:r>
          </a:p>
          <a:p>
            <a:pPr marL="560070" lvl="1" indent="-285750"/>
            <a:r>
              <a:rPr lang="en-US" sz="1600" dirty="0"/>
              <a:t>RHEUMATOID ARTHRITIS</a:t>
            </a:r>
          </a:p>
          <a:p>
            <a:pPr marL="560070" lvl="1" indent="-285750"/>
            <a:r>
              <a:rPr lang="en-US" sz="1600" dirty="0"/>
              <a:t>INFLAMMATORY AND DERMATOLOGICAL CON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TRADITIONALLY PRESCRIBED IN 200 OR 400 MG TABLETS WITH TOTAL DOSE BASED ON IDEAL BODY WEIGHT (IBW) TO REDUCE TOXICITY </a:t>
            </a:r>
          </a:p>
        </p:txBody>
      </p:sp>
    </p:spTree>
    <p:extLst>
      <p:ext uri="{BB962C8B-B14F-4D97-AF65-F5344CB8AC3E}">
        <p14:creationId xmlns:p14="http://schemas.microsoft.com/office/powerpoint/2010/main" val="31829858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EC3A4DE-0ED0-274F-BC9D-395141E6DF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36916" y="542925"/>
            <a:ext cx="6918168" cy="631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74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5EE7AD-CF88-FA42-BB93-20011EB99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KEY TAKEAWAY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A6A30-5E50-904E-8A28-41367129E8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AMERICAN ACADEMY OF OPHTHALMOLOGY (AAO) RECENTLY REVERSED THIS RECOMMENDATION BASED ON EVIDENCE THAT DOSING BASED ON ACTUAL BODY WEIGHT (ABW), WITH A MAXIMUM DOSE OF &lt; 5 MG/KG/DAY, IS MORE PREDICTIVE OF RETINAL TOXICITY AND IS MORE ACCURATE ACROSS A WIDER RANGE OF BODY TYPES</a:t>
            </a:r>
          </a:p>
        </p:txBody>
      </p:sp>
    </p:spTree>
    <p:extLst>
      <p:ext uri="{BB962C8B-B14F-4D97-AF65-F5344CB8AC3E}">
        <p14:creationId xmlns:p14="http://schemas.microsoft.com/office/powerpoint/2010/main" val="24283686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69335-17C9-E14E-9805-9B1B16048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SS THAN 135 POUNDS IF TAKING THE STANDARD 400 MG/DAY DOSAGE OF PLAQUENIL®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OVERALL PREVALENCE OF BULL’S-EYE MACULOPATHY IN PATIENTS TAKING HCQ FOR AT LEAST 5 YEARS IS 7.5%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OR PATIENTS TAKING 4-5 MG/KG/DAY (BASED ON ABW), THE PREVALENCE OF RETINAL TOXI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MAINED LESS THAN 2% WITHIN THE FIRST 10 YEA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CREASED TO 20% AFTER 20 YEARS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RISK OF MACULAR TOXICITY EXCEEDED 50% AT 20 YEARS IN PATIENTS TAKING &gt; 5.0 MG/KG/DAY BASED ON ABW</a:t>
            </a:r>
          </a:p>
        </p:txBody>
      </p:sp>
    </p:spTree>
    <p:extLst>
      <p:ext uri="{BB962C8B-B14F-4D97-AF65-F5344CB8AC3E}">
        <p14:creationId xmlns:p14="http://schemas.microsoft.com/office/powerpoint/2010/main" val="36824370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F823FF-F3D9-E04A-A53E-6AFAB6F6F6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8700" y="1016066"/>
            <a:ext cx="10134600" cy="3969342"/>
          </a:xfrm>
        </p:spPr>
        <p:txBody>
          <a:bodyPr>
            <a:noAutofit/>
          </a:bodyPr>
          <a:lstStyle/>
          <a:p>
            <a:r>
              <a:rPr lang="en-US" sz="5400" dirty="0"/>
              <a:t>“Upon the subject of education…I can only say that I view it as the most important subject which we as a people can be engaged in” - Abraham Lincoln</a:t>
            </a:r>
          </a:p>
        </p:txBody>
      </p:sp>
    </p:spTree>
    <p:extLst>
      <p:ext uri="{BB962C8B-B14F-4D97-AF65-F5344CB8AC3E}">
        <p14:creationId xmlns:p14="http://schemas.microsoft.com/office/powerpoint/2010/main" val="24020051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81DA7E-A984-2A4B-AD85-A5460F2748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ISK FACTORS FOR MACULAR TOXI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OSE &gt; 5.0 MG/KG ABW PER D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EATMENT DURATION &gt; 5 YEA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BNORMAL KIDNEY FUN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CURRENT USE OF TAMOXIF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E-EXISTING MACULAR DISEASE</a:t>
            </a:r>
          </a:p>
        </p:txBody>
      </p:sp>
    </p:spTree>
    <p:extLst>
      <p:ext uri="{BB962C8B-B14F-4D97-AF65-F5344CB8AC3E}">
        <p14:creationId xmlns:p14="http://schemas.microsoft.com/office/powerpoint/2010/main" val="12612373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DE50D31-3E99-F34F-89AE-FDB281C3CC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43075" y="835025"/>
            <a:ext cx="8986837" cy="553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7029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F7176FB-6A14-9C44-8C35-CC6DD5C941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2938" y="756443"/>
            <a:ext cx="4985136" cy="5600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61F991-5ACC-FC47-AF7D-03B34ADEB4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8074" y="627062"/>
            <a:ext cx="6126380" cy="585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9481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C722660-A313-604C-9737-8100B8DCE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4255" y="-800101"/>
            <a:ext cx="8662721" cy="865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453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DC9758-B911-704A-9395-7BE51F8AB4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8700" y="1259859"/>
            <a:ext cx="10134600" cy="3969342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EGIN ANNUAL EXAMS AFTER 5 YEARS OF HCQ USE UNLESS THE PATIENT HAS RISK FACTORS FOR MACULAR TOXICITY OR TAKING A HIGHER THAN RECOMMENDED DO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0-2 AUTOMATED V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SIDER ALSO 24-2 OR 30-2 IN AS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D-OCT OF MACU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DDITIONAL TESTS TO CONS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UNDUS AUTOFLUORESC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ARLY: HYPERFLUORESC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ATE: MOTTLED HYPOFLUORESCENCE (RPE ATROPH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ULTIFOCAL ERG</a:t>
            </a:r>
          </a:p>
        </p:txBody>
      </p:sp>
    </p:spTree>
    <p:extLst>
      <p:ext uri="{BB962C8B-B14F-4D97-AF65-F5344CB8AC3E}">
        <p14:creationId xmlns:p14="http://schemas.microsoft.com/office/powerpoint/2010/main" val="28106702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ABFBD-2C4B-2B44-BB27-C00002BEF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A35E82-3A18-494B-A948-DC6D8D2D19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60 YEAR OLD MA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OKE UP WITH DECREASED VISION IN THE LEFT EYE</a:t>
            </a:r>
          </a:p>
        </p:txBody>
      </p:sp>
    </p:spTree>
    <p:extLst>
      <p:ext uri="{BB962C8B-B14F-4D97-AF65-F5344CB8AC3E}">
        <p14:creationId xmlns:p14="http://schemas.microsoft.com/office/powerpoint/2010/main" val="4337935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person's chest&#10;&#10;Description automatically generated with low confidence">
            <a:extLst>
              <a:ext uri="{FF2B5EF4-FFF2-40B4-BE49-F238E27FC236}">
                <a16:creationId xmlns:a16="http://schemas.microsoft.com/office/drawing/2014/main" id="{3B0607DF-BC2E-674F-8507-AFB02846B1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9199" y="0"/>
            <a:ext cx="73136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030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243E3-FA3B-9544-BAA6-64B2258BA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NAION</a:t>
            </a:r>
          </a:p>
        </p:txBody>
      </p:sp>
      <p:pic>
        <p:nvPicPr>
          <p:cNvPr id="5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1C70F917-E015-3D40-BC78-AB9F137F2B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09787" y="2176462"/>
            <a:ext cx="7972425" cy="4467225"/>
          </a:xfrm>
        </p:spPr>
      </p:pic>
    </p:spTree>
    <p:extLst>
      <p:ext uri="{BB962C8B-B14F-4D97-AF65-F5344CB8AC3E}">
        <p14:creationId xmlns:p14="http://schemas.microsoft.com/office/powerpoint/2010/main" val="5837036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4EDC6-2024-2C48-B0BE-A1DB57FAF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DRUG INDUCED NA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F672E1-4B8A-F24F-B65F-FD8DB4297F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VIAG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VIT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MIODARO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MITREX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MAGLUTIDE (OZEMPIC/WEGOV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YPERTENSION AND SLEEP APNEA –NOCTURAL HYPOTENION</a:t>
            </a:r>
          </a:p>
          <a:p>
            <a:pPr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8209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5619F-72FB-B242-A798-8179BDC5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GLAUCO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BF0BB-624B-884A-B6ED-3B6D10FAC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CREASE OUTFLOW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CREASE PRODUCTION</a:t>
            </a:r>
          </a:p>
        </p:txBody>
      </p:sp>
    </p:spTree>
    <p:extLst>
      <p:ext uri="{BB962C8B-B14F-4D97-AF65-F5344CB8AC3E}">
        <p14:creationId xmlns:p14="http://schemas.microsoft.com/office/powerpoint/2010/main" val="3257448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F823FF-F3D9-E04A-A53E-6AFAB6F6F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5400" dirty="0"/>
              <a:t>“You cannot escape the responsibility of tomorrow by evading it today.” – Abraham Lincoln</a:t>
            </a:r>
          </a:p>
        </p:txBody>
      </p:sp>
    </p:spTree>
    <p:extLst>
      <p:ext uri="{BB962C8B-B14F-4D97-AF65-F5344CB8AC3E}">
        <p14:creationId xmlns:p14="http://schemas.microsoft.com/office/powerpoint/2010/main" val="19788466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9F32D-0410-5C4C-8B78-C08980A39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ROSTAGLAND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D394DA-CD2E-3E48-AEF0-EF9B7C860E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ATANOPRO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IMATOPRO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AVOPRO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(NON BAK) PRESERVATIVE FREE OPTIONS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YUZEH, ZIOPTAN,(TAFLUPROST), COSOPT PF, TIMOPTIC IN OCUDO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XELPROS – CONTAINS POTASSIUM SORBATE </a:t>
            </a:r>
          </a:p>
        </p:txBody>
      </p:sp>
    </p:spTree>
    <p:extLst>
      <p:ext uri="{BB962C8B-B14F-4D97-AF65-F5344CB8AC3E}">
        <p14:creationId xmlns:p14="http://schemas.microsoft.com/office/powerpoint/2010/main" val="31454320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6EE1B-F9DB-A64E-9657-4D12D66E1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ROSTOGLAND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141980-4F4B-A842-93BA-9E7A1372E2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CREASE OUTFLOW THROUGH UVEOLSCLERAL PATHW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IGMENTATION EFFE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ASH LENGTHE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JUNCTIVAL HYPEREM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AUTION IN ACTIVE INFLAMMATION (UVEITIS, CME, HERPES)</a:t>
            </a:r>
          </a:p>
        </p:txBody>
      </p:sp>
    </p:spTree>
    <p:extLst>
      <p:ext uri="{BB962C8B-B14F-4D97-AF65-F5344CB8AC3E}">
        <p14:creationId xmlns:p14="http://schemas.microsoft.com/office/powerpoint/2010/main" val="4936457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white box with purple and white text&#10;&#10;Description automatically generated">
            <a:extLst>
              <a:ext uri="{FF2B5EF4-FFF2-40B4-BE49-F238E27FC236}">
                <a16:creationId xmlns:a16="http://schemas.microsoft.com/office/drawing/2014/main" id="{240F4076-0F8A-AA42-92DE-1C96A4B7B0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57538" y="514350"/>
            <a:ext cx="6412055" cy="5457825"/>
          </a:xfrm>
        </p:spPr>
      </p:pic>
    </p:spTree>
    <p:extLst>
      <p:ext uri="{BB962C8B-B14F-4D97-AF65-F5344CB8AC3E}">
        <p14:creationId xmlns:p14="http://schemas.microsoft.com/office/powerpoint/2010/main" val="148195291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7DA83F37-B8B7-F746-AFF9-C44522AF0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0074" y="149067"/>
            <a:ext cx="7433989" cy="6559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909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AE892-317C-8B43-91EB-997C10A2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ARBONIC ANHYDROSE INHIBI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F40510-6A41-5445-B7D5-BD2C38932D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INZOLAMI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ORZOLAMIDE</a:t>
            </a:r>
          </a:p>
        </p:txBody>
      </p:sp>
    </p:spTree>
    <p:extLst>
      <p:ext uri="{BB962C8B-B14F-4D97-AF65-F5344CB8AC3E}">
        <p14:creationId xmlns:p14="http://schemas.microsoft.com/office/powerpoint/2010/main" val="9075670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D14D47-E436-ED4A-A8F1-B38606EAB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CARBONIC ANHYDRASE INHIBITORS</a:t>
            </a:r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C32C6CC-F352-4EBB-BD2D-AE6EBE8C0E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1378873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98870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26BE6-F1C5-994A-893F-5F2F3081C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ETA BLOCK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62B644-6888-A540-9C06-6DC207442D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ETA 2 – LOCATED ON NPCE, ENHANCES AQUEOUS SECREATION VIA ACTIVE SECRETION – BLOCKING THIS REDUCES AQUEOUS P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IMOLOL .25% DAILY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1571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B22176A-41DB-4D9A-9B6F-F2296F1ED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4A8DF5-445E-49C5-B10A-8DF5FEFBC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4E38D9-EFB8-40B5-B42B-514FBF180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F15EA6-0F30-2A42-87F1-A0B5DFD29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1" y="963919"/>
            <a:ext cx="10134600" cy="1036994"/>
          </a:xfrm>
        </p:spPr>
        <p:txBody>
          <a:bodyPr anchor="b">
            <a:normAutofit/>
          </a:bodyPr>
          <a:lstStyle/>
          <a:p>
            <a:pPr algn="ctr"/>
            <a:r>
              <a:rPr lang="en-US" dirty="0"/>
              <a:t>BETA BLOCKER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87FFE71-34DC-4C53-AE0F-6B141D081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7" y="2169459"/>
            <a:ext cx="867485" cy="115439"/>
            <a:chOff x="8910933" y="1861308"/>
            <a:chExt cx="867485" cy="1154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7DF92F1-0E20-46AC-BB8F-F66926B40C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FA14CB4-8459-4D23-B4FF-8F9868E3FC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0C763F-37C4-4E00-AEB2-8867F4AA25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9C6BA01-0AAC-495D-8CA9-D0449FAA4C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92065734"/>
              </p:ext>
            </p:extLst>
          </p:nvPr>
        </p:nvGraphicFramePr>
        <p:xfrm>
          <a:off x="1028700" y="2749258"/>
          <a:ext cx="10134600" cy="3338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5582870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3E640-E3F4-CC42-8C24-7B8EBD641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ETA BLOCK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E57C6A-EAB4-F543-A244-659A6969A4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SPIRATORY</a:t>
            </a:r>
          </a:p>
          <a:p>
            <a:pPr marL="617220" lvl="1" indent="-342900"/>
            <a:r>
              <a:rPr lang="en-US" dirty="0"/>
              <a:t>BRONCHOSPASM</a:t>
            </a:r>
          </a:p>
          <a:p>
            <a:pPr marL="617220" lvl="1" indent="-342900"/>
            <a:r>
              <a:rPr lang="en-US" dirty="0"/>
              <a:t>CONTRAINDICATED COPD AND ASTHMA</a:t>
            </a:r>
          </a:p>
          <a:p>
            <a:pPr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8760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CAA64-E23F-8049-BB2B-E0FEC66FB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Dual Outflow MOA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25BEBE-4C48-2E4E-984D-A3DB9165C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VYZULTA (LATANOPROSTENE BUNOD)</a:t>
            </a:r>
          </a:p>
          <a:p>
            <a:pPr marL="617220" lvl="1" indent="-342900"/>
            <a:r>
              <a:rPr lang="en-US" dirty="0"/>
              <a:t>PROSTOGLANDIN PLUS NITRIC OXIDE –  IMPROVES TM PERMEABILITY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8C2AD0F5-D438-8740-AB43-CCD02E4D4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1445" y="2849525"/>
            <a:ext cx="3470955" cy="4328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3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F823FF-F3D9-E04A-A53E-6AFAB6F6F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5400" dirty="0"/>
              <a:t>“Tell me and I forget, teach me and I may remember, involve me and I learn.” - Benjamin Franklin</a:t>
            </a:r>
          </a:p>
        </p:txBody>
      </p:sp>
    </p:spTree>
    <p:extLst>
      <p:ext uri="{BB962C8B-B14F-4D97-AF65-F5344CB8AC3E}">
        <p14:creationId xmlns:p14="http://schemas.microsoft.com/office/powerpoint/2010/main" val="36229545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EA8F8-A2A8-7341-B7CD-C8A778F65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Rock inhibi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C3860-EEC7-CF47-8B52-93BB44F606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HOPRESSA (NETARSUDIL) </a:t>
            </a:r>
          </a:p>
          <a:p>
            <a:pPr marL="617220" lvl="1" indent="-342900"/>
            <a:r>
              <a:rPr lang="en-US" dirty="0"/>
              <a:t>RHO KINASE INHIBITOR – INCREASES OUTFLOW THROUGH TRABECULAR MESHWORK</a:t>
            </a:r>
          </a:p>
          <a:p>
            <a:pPr marL="617220" lvl="1" indent="-342900"/>
            <a:r>
              <a:rPr lang="en-US" dirty="0"/>
              <a:t>ROCK INHIBITORS RELAX ACTINMYSIN WITHIN TM AND INNER WALLS OF SCHLEMM’S CANAL</a:t>
            </a:r>
          </a:p>
          <a:p>
            <a:pPr marL="617220" lvl="1" indent="-342900"/>
            <a:r>
              <a:rPr lang="en-US" dirty="0"/>
              <a:t>INCREASES VASODILATION WITHIN EPISCLERAL VENOUS SYSTEM</a:t>
            </a:r>
          </a:p>
          <a:p>
            <a:pPr marL="617220" lvl="1" indent="-342900"/>
            <a:r>
              <a:rPr lang="en-US" dirty="0"/>
              <a:t>WHORL K</a:t>
            </a:r>
          </a:p>
          <a:p>
            <a:pPr marL="617220" lvl="1" indent="-342900"/>
            <a:r>
              <a:rPr lang="en-US" dirty="0"/>
              <a:t>CONJUNCTIVAL HYPEREMIA</a:t>
            </a:r>
          </a:p>
          <a:p>
            <a:pPr marL="617220" lvl="1" indent="-342900"/>
            <a:r>
              <a:rPr lang="en-US" dirty="0"/>
              <a:t>SUBCONJUNCTIVAL HEMORRHA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24151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Text&#10;&#10;Description automatically generated">
            <a:extLst>
              <a:ext uri="{FF2B5EF4-FFF2-40B4-BE49-F238E27FC236}">
                <a16:creationId xmlns:a16="http://schemas.microsoft.com/office/drawing/2014/main" id="{A6BF4819-5186-AE45-B198-92FD6DCC72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71126" y="1215878"/>
            <a:ext cx="6192389" cy="4918222"/>
          </a:xfrm>
        </p:spPr>
      </p:pic>
    </p:spTree>
    <p:extLst>
      <p:ext uri="{BB962C8B-B14F-4D97-AF65-F5344CB8AC3E}">
        <p14:creationId xmlns:p14="http://schemas.microsoft.com/office/powerpoint/2010/main" val="16561443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37D9-7FB7-2D48-B76E-40CC16B90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mbina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32AE2-13C8-C341-93B1-802612B0D3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OCKLATAN (NETARSUDIL AND LATANOPROST)</a:t>
            </a:r>
          </a:p>
          <a:p>
            <a:pPr marL="617220" lvl="1" indent="-342900"/>
            <a:r>
              <a:rPr lang="en-US" dirty="0"/>
              <a:t>COMBO MEDICATION</a:t>
            </a:r>
          </a:p>
          <a:p>
            <a:pPr marL="617220" lvl="1" indent="-342900"/>
            <a:r>
              <a:rPr lang="en-US" dirty="0"/>
              <a:t>WHORL K</a:t>
            </a:r>
          </a:p>
          <a:p>
            <a:pPr marL="617220" lvl="1" indent="-342900"/>
            <a:r>
              <a:rPr lang="en-US" dirty="0"/>
              <a:t>SUBCONJUNCTIVAL HEME (WARFARIN?)</a:t>
            </a:r>
          </a:p>
          <a:p>
            <a:pPr marL="617220" lvl="1" indent="-342900"/>
            <a:r>
              <a:rPr lang="en-US" dirty="0"/>
              <a:t>CONJUNCTIVAL INJE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3235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AFA25A-6407-E543-9240-1DBB9DD26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356" y="649472"/>
            <a:ext cx="10134600" cy="1288489"/>
          </a:xfrm>
        </p:spPr>
        <p:txBody>
          <a:bodyPr/>
          <a:lstStyle/>
          <a:p>
            <a:pPr algn="ctr"/>
            <a:r>
              <a:rPr lang="en-US" dirty="0"/>
              <a:t>DRY EYE UPDATE:</a:t>
            </a:r>
            <a:br>
              <a:rPr lang="en-US" dirty="0"/>
            </a:br>
            <a:r>
              <a:rPr lang="en-US" dirty="0"/>
              <a:t>T CELL INBHIBITORS</a:t>
            </a:r>
          </a:p>
        </p:txBody>
      </p:sp>
      <p:pic>
        <p:nvPicPr>
          <p:cNvPr id="5" name="Content Placeholder 4" descr="Text&#10;&#10;Description automatically generated with medium confidence">
            <a:extLst>
              <a:ext uri="{FF2B5EF4-FFF2-40B4-BE49-F238E27FC236}">
                <a16:creationId xmlns:a16="http://schemas.microsoft.com/office/drawing/2014/main" id="{BB23CB12-D7C4-6F45-999A-E634269ACB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3404" y="2329859"/>
            <a:ext cx="5291666" cy="3968750"/>
          </a:xfrm>
        </p:spPr>
      </p:pic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0833620A-B8CF-144D-86B7-6E899BDA0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21003"/>
            <a:ext cx="5542812" cy="554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774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8D022-6108-A544-BAC0-233E1B8D1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0"/>
            <a:ext cx="10134600" cy="1785384"/>
          </a:xfrm>
        </p:spPr>
        <p:txBody>
          <a:bodyPr/>
          <a:lstStyle/>
          <a:p>
            <a:pPr algn="ctr"/>
            <a:r>
              <a:rPr lang="en-US" dirty="0"/>
              <a:t>DRY EYE UPDATE:</a:t>
            </a:r>
            <a:br>
              <a:rPr lang="en-US" dirty="0"/>
            </a:br>
            <a:r>
              <a:rPr lang="en-US" dirty="0"/>
              <a:t>PREVENTS ADHESION, ACTIVATION, MIGRATION AND PROLIFERATION OF LYMPHOCYTES</a:t>
            </a:r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5349433A-9F54-7C48-AADC-DF46AA9E74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81304" y="2926435"/>
            <a:ext cx="3720213" cy="2248786"/>
          </a:xfrm>
        </p:spPr>
      </p:pic>
    </p:spTree>
    <p:extLst>
      <p:ext uri="{BB962C8B-B14F-4D97-AF65-F5344CB8AC3E}">
        <p14:creationId xmlns:p14="http://schemas.microsoft.com/office/powerpoint/2010/main" val="244189316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8D022-6108-A544-BAC0-233E1B8D1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899"/>
            <a:ext cx="10134600" cy="6212929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DRY EYE UPDATE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YRVAYA nasal spray contains varenicline which is a partial nicotinic acetylcholine receptor agonist(cholinergic agonis</a:t>
            </a:r>
            <a:br>
              <a:rPr lang="en-US" dirty="0"/>
            </a:br>
            <a:br>
              <a:rPr lang="en-US" sz="3600" dirty="0"/>
            </a:br>
            <a:r>
              <a:rPr lang="en-US" sz="3600" dirty="0"/>
              <a:t>	-    </a:t>
            </a:r>
            <a:r>
              <a:rPr lang="en-US" dirty="0"/>
              <a:t>binding produces agonist activity and activates the   	trigeminal parasympathetic pathway resulting </a:t>
            </a:r>
            <a:r>
              <a:rPr lang="en-US" dirty="0" err="1"/>
              <a:t>inincreased</a:t>
            </a:r>
            <a:r>
              <a:rPr lang="en-US" dirty="0"/>
              <a:t> production of basal tear film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347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, bottle, indoor&#10;&#10;Description automatically generated">
            <a:extLst>
              <a:ext uri="{FF2B5EF4-FFF2-40B4-BE49-F238E27FC236}">
                <a16:creationId xmlns:a16="http://schemas.microsoft.com/office/drawing/2014/main" id="{F723C038-33E1-7F4F-8C9A-8DD2F3049B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71700" y="927894"/>
            <a:ext cx="7300913" cy="5002212"/>
          </a:xfrm>
        </p:spPr>
      </p:pic>
    </p:spTree>
    <p:extLst>
      <p:ext uri="{BB962C8B-B14F-4D97-AF65-F5344CB8AC3E}">
        <p14:creationId xmlns:p14="http://schemas.microsoft.com/office/powerpoint/2010/main" val="29528577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D3B3C7E-BC2D-4436-8B03-AC421FA66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B5D0C1-066E-4C02-A6B8-59FAE4A19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DB33B578-A8C0-4D0F-8846-FBE386EDC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D8EACB7-D372-470B-B76E-A829D0031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C7EA4B13-46D3-41EE-95DA-7B2100DE94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CEEEBE1-DC7B-4168-90C6-DB88876E30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418E74-781F-419C-8C63-91C14AF8D8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B0F0D1C-98D5-4C46-961A-0E36168C31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3E9C99B-47BB-461B-AEDE-0B227C5B25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990187A-D5AC-D140-8D43-57447F99A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924" y="1398850"/>
            <a:ext cx="3282152" cy="203015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kern="1200" cap="all" spc="390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irst for evaporative dry eye</a:t>
            </a:r>
          </a:p>
        </p:txBody>
      </p:sp>
      <p:pic>
        <p:nvPicPr>
          <p:cNvPr id="5" name="Content Placeholder 4" descr="A bottle of eye drops&#10;&#10;Description automatically generated">
            <a:extLst>
              <a:ext uri="{FF2B5EF4-FFF2-40B4-BE49-F238E27FC236}">
                <a16:creationId xmlns:a16="http://schemas.microsoft.com/office/drawing/2014/main" id="{B53C3800-4EC2-7E40-808C-72B64C52C3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7069" y="723899"/>
            <a:ext cx="3773615" cy="5410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9375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D1FE7-C834-FD44-B630-02F0D0490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IEBO M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D2D2C-28A1-FF44-8D38-F0D4A05D80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T CLEAR BUT THOUGHT TO WORK BY MIMICKING THE ANTI-EVAPORATIVE PROPERTIES OF MEIBU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PREADS UNIFORMLY OVER THE OCULAR SURFACE FORMING A PROTECTICE SURFACTANT LAYER OVER THE TEAR FILM WHICH PREVENTS EVAPO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QID DOSAGE, 3ML BOTTLE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ILDLY DECREASED 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 BURNING</a:t>
            </a:r>
          </a:p>
        </p:txBody>
      </p:sp>
    </p:spTree>
    <p:extLst>
      <p:ext uri="{BB962C8B-B14F-4D97-AF65-F5344CB8AC3E}">
        <p14:creationId xmlns:p14="http://schemas.microsoft.com/office/powerpoint/2010/main" val="211369320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D3B3C7E-BC2D-4436-8B03-AC421FA66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B5D0C1-066E-4C02-A6B8-59FAE4A19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DB33B578-A8C0-4D0F-8846-FBE386EDC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D8EACB7-D372-470B-B76E-A829D0031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C7EA4B13-46D3-41EE-95DA-7B2100DE94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24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CEEEBE1-DC7B-4168-90C6-DB88876E30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710258" y="4550150"/>
            <a:ext cx="867485" cy="115439"/>
            <a:chOff x="8910933" y="1861308"/>
            <a:chExt cx="867485" cy="11543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418E74-781F-419C-8C63-91C14AF8D8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B0F0D1C-98D5-4C46-961A-0E36168C31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3E9C99B-47BB-461B-AEDE-0B227C5B25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0272A2D-B5F6-8345-A089-358A9E4D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2924" y="1398850"/>
            <a:ext cx="3282152" cy="203015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kern="1200" cap="all" spc="390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FORE MIEBO:</a:t>
            </a:r>
          </a:p>
        </p:txBody>
      </p:sp>
      <p:pic>
        <p:nvPicPr>
          <p:cNvPr id="5" name="Content Placeholder 4" descr="A close-up of a green eye&#10;&#10;Description automatically generated">
            <a:extLst>
              <a:ext uri="{FF2B5EF4-FFF2-40B4-BE49-F238E27FC236}">
                <a16:creationId xmlns:a16="http://schemas.microsoft.com/office/drawing/2014/main" id="{F0D547DD-6679-284E-B801-C99B6D1539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3900" y="1453224"/>
            <a:ext cx="4621696" cy="395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760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969F8-1422-E141-A602-F369BE3FF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800" dirty="0"/>
              <a:t>Autonomic Re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85D8CBB-61A0-AF43-934D-9EFCE9ACFB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3698648"/>
              </p:ext>
            </p:extLst>
          </p:nvPr>
        </p:nvGraphicFramePr>
        <p:xfrm>
          <a:off x="1028700" y="2162174"/>
          <a:ext cx="10134600" cy="301278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78200">
                  <a:extLst>
                    <a:ext uri="{9D8B030D-6E8A-4147-A177-3AD203B41FA5}">
                      <a16:colId xmlns:a16="http://schemas.microsoft.com/office/drawing/2014/main" val="2878565192"/>
                    </a:ext>
                  </a:extLst>
                </a:gridCol>
                <a:gridCol w="3378200">
                  <a:extLst>
                    <a:ext uri="{9D8B030D-6E8A-4147-A177-3AD203B41FA5}">
                      <a16:colId xmlns:a16="http://schemas.microsoft.com/office/drawing/2014/main" val="2106619452"/>
                    </a:ext>
                  </a:extLst>
                </a:gridCol>
                <a:gridCol w="3378200">
                  <a:extLst>
                    <a:ext uri="{9D8B030D-6E8A-4147-A177-3AD203B41FA5}">
                      <a16:colId xmlns:a16="http://schemas.microsoft.com/office/drawing/2014/main" val="2965531569"/>
                    </a:ext>
                  </a:extLst>
                </a:gridCol>
              </a:tblGrid>
              <a:tr h="59317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i="0" dirty="0"/>
                        <a:t>EXCITA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5765071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HIBI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4445603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r>
                        <a:rPr lang="en-US" dirty="0"/>
                        <a:t>MUSCURIN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/>
                        <a:t>M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ITA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528083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HIBI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358882"/>
                  </a:ext>
                </a:extLst>
              </a:tr>
              <a:tr h="59317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ITA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854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117331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D3B3C7E-BC2D-4436-8B03-AC421FA66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B5D0C1-066E-4C02-A6B8-59FAE4A19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DB33B578-A8C0-4D0F-8846-FBE386EDC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D8EACB7-D372-470B-B76E-A829D0031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C7EA4B13-46D3-41EE-95DA-7B2100DE94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24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CEEEBE1-DC7B-4168-90C6-DB88876E30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710258" y="4550150"/>
            <a:ext cx="867485" cy="115439"/>
            <a:chOff x="8910933" y="1861308"/>
            <a:chExt cx="867485" cy="11543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418E74-781F-419C-8C63-91C14AF8D8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B0F0D1C-98D5-4C46-961A-0E36168C31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3E9C99B-47BB-461B-AEDE-0B227C5B25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F844A52-6E73-D24A-9175-E9D0D31C8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2924" y="1398850"/>
            <a:ext cx="3282152" cy="203015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kern="1200" cap="all" spc="390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10 MINUTES AFTER MIEBO</a:t>
            </a:r>
          </a:p>
        </p:txBody>
      </p:sp>
      <p:pic>
        <p:nvPicPr>
          <p:cNvPr id="5" name="Content Placeholder 4" descr="A close up of an eye&#10;&#10;Description automatically generated">
            <a:extLst>
              <a:ext uri="{FF2B5EF4-FFF2-40B4-BE49-F238E27FC236}">
                <a16:creationId xmlns:a16="http://schemas.microsoft.com/office/drawing/2014/main" id="{9E515C5D-2B6B-D848-B810-9AD2B51C4B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26211" y="723899"/>
            <a:ext cx="4017074" cy="5410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834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9F22B-00E5-E643-BD10-4AD97FFB9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YCLOSPORINE 0.1%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026176F-5364-0249-B6EB-7469548DE7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47728" y="2165350"/>
            <a:ext cx="3766125" cy="3968750"/>
          </a:xfrm>
        </p:spPr>
      </p:pic>
    </p:spTree>
    <p:extLst>
      <p:ext uri="{BB962C8B-B14F-4D97-AF65-F5344CB8AC3E}">
        <p14:creationId xmlns:p14="http://schemas.microsoft.com/office/powerpoint/2010/main" val="420323125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2398E-29A5-164D-83EC-B6F62B4A2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VY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DF11F-30FE-2B4D-B91C-7A923EE6BE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*SIDE EFFECTS: EYE IRRITATION, TEMPORAY BLUR</a:t>
            </a:r>
          </a:p>
          <a:p>
            <a:r>
              <a:rPr lang="en-US" dirty="0"/>
              <a:t>*SIGNS AND SYMPTOMS OF DRY EYE IMPROVE IN 15 DAYS</a:t>
            </a:r>
          </a:p>
        </p:txBody>
      </p:sp>
    </p:spTree>
    <p:extLst>
      <p:ext uri="{BB962C8B-B14F-4D97-AF65-F5344CB8AC3E}">
        <p14:creationId xmlns:p14="http://schemas.microsoft.com/office/powerpoint/2010/main" val="19683783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5F1AF-6F6F-C148-8713-C61166D4A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S IT REALLY DRY EY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8BF499-B8C4-1047-B916-1C6616130C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4400" dirty="0"/>
              <a:t>Decreased corneal sens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4400" dirty="0"/>
              <a:t>Non healing epithelial def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4400" dirty="0"/>
              <a:t>Stain without p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4400" dirty="0"/>
              <a:t>Ulceration</a:t>
            </a:r>
          </a:p>
        </p:txBody>
      </p:sp>
    </p:spTree>
    <p:extLst>
      <p:ext uri="{BB962C8B-B14F-4D97-AF65-F5344CB8AC3E}">
        <p14:creationId xmlns:p14="http://schemas.microsoft.com/office/powerpoint/2010/main" val="217571699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C0E33-AB2B-F54A-A07D-6090EC3947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NEUROTROPHIC RISK FACTOR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DEA22E-FFCE-384E-9830-B5510C0751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IABE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ERPES SIMPL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ERPES ZOS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ASI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ACT LENS WEAR</a:t>
            </a:r>
          </a:p>
        </p:txBody>
      </p:sp>
    </p:spTree>
    <p:extLst>
      <p:ext uri="{BB962C8B-B14F-4D97-AF65-F5344CB8AC3E}">
        <p14:creationId xmlns:p14="http://schemas.microsoft.com/office/powerpoint/2010/main" val="240045135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3AB3A1C-1151-CA48-A63C-66A8460DDC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85900" y="723900"/>
            <a:ext cx="8601075" cy="5407025"/>
          </a:xfrm>
        </p:spPr>
      </p:pic>
    </p:spTree>
    <p:extLst>
      <p:ext uri="{BB962C8B-B14F-4D97-AF65-F5344CB8AC3E}">
        <p14:creationId xmlns:p14="http://schemas.microsoft.com/office/powerpoint/2010/main" val="89543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8">
            <a:extLst>
              <a:ext uri="{FF2B5EF4-FFF2-40B4-BE49-F238E27FC236}">
                <a16:creationId xmlns:a16="http://schemas.microsoft.com/office/drawing/2014/main" id="{7B22176A-41DB-4D9A-9B6F-F2296F1ED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774A8DF5-445E-49C5-B10A-8DF5FEFBC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9A4E38D9-EFB8-40B5-B42B-514FBF180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C3C7DB-7A4D-ED47-A8A2-6B4C3E36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1" y="963919"/>
            <a:ext cx="10134600" cy="1036994"/>
          </a:xfrm>
        </p:spPr>
        <p:txBody>
          <a:bodyPr anchor="b">
            <a:normAutofit/>
          </a:bodyPr>
          <a:lstStyle/>
          <a:p>
            <a:pPr algn="ctr"/>
            <a:r>
              <a:rPr lang="en-US" dirty="0"/>
              <a:t>OXERVATE</a:t>
            </a:r>
          </a:p>
        </p:txBody>
      </p:sp>
      <p:grpSp>
        <p:nvGrpSpPr>
          <p:cNvPr id="23" name="Group 14">
            <a:extLst>
              <a:ext uri="{FF2B5EF4-FFF2-40B4-BE49-F238E27FC236}">
                <a16:creationId xmlns:a16="http://schemas.microsoft.com/office/drawing/2014/main" id="{D87FFE71-34DC-4C53-AE0F-6B141D081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7" y="2169459"/>
            <a:ext cx="867485" cy="115439"/>
            <a:chOff x="8910933" y="1861308"/>
            <a:chExt cx="867485" cy="115439"/>
          </a:xfrm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7DF92F1-0E20-46AC-BB8F-F66926B40C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FA14CB4-8459-4D23-B4FF-8F9868E3FC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0C763F-37C4-4E00-AEB2-8867F4AA25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Content Placeholder 2">
            <a:extLst>
              <a:ext uri="{FF2B5EF4-FFF2-40B4-BE49-F238E27FC236}">
                <a16:creationId xmlns:a16="http://schemas.microsoft.com/office/drawing/2014/main" id="{939FC50E-C6FF-33F7-DD75-F3B37107BB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3878339"/>
              </p:ext>
            </p:extLst>
          </p:nvPr>
        </p:nvGraphicFramePr>
        <p:xfrm>
          <a:off x="1028700" y="2749258"/>
          <a:ext cx="10134600" cy="3338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5961829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44B0D-5A1D-D242-AE75-8310F5360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LEPHARIT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B639D-0325-D14D-B0AD-4468D1284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CH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ISCHAR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U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G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LLARETTES</a:t>
            </a:r>
          </a:p>
        </p:txBody>
      </p:sp>
    </p:spTree>
    <p:extLst>
      <p:ext uri="{BB962C8B-B14F-4D97-AF65-F5344CB8AC3E}">
        <p14:creationId xmlns:p14="http://schemas.microsoft.com/office/powerpoint/2010/main" val="235110245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diagram of a human body&#10;&#10;Description automatically generated">
            <a:extLst>
              <a:ext uri="{FF2B5EF4-FFF2-40B4-BE49-F238E27FC236}">
                <a16:creationId xmlns:a16="http://schemas.microsoft.com/office/drawing/2014/main" id="{3B2652AD-841A-3141-86CA-ED90D140E0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28887" y="271464"/>
            <a:ext cx="7272337" cy="5859462"/>
          </a:xfrm>
        </p:spPr>
      </p:pic>
    </p:spTree>
    <p:extLst>
      <p:ext uri="{BB962C8B-B14F-4D97-AF65-F5344CB8AC3E}">
        <p14:creationId xmlns:p14="http://schemas.microsoft.com/office/powerpoint/2010/main" val="316570630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11">
            <a:extLst>
              <a:ext uri="{FF2B5EF4-FFF2-40B4-BE49-F238E27FC236}">
                <a16:creationId xmlns:a16="http://schemas.microsoft.com/office/drawing/2014/main" id="{158E38A4-F699-490C-8D1F-E8AD332D9B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9C6AAB-48AC-41A3-95C2-6BF83715D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F6EE861B-7D2F-4B7C-A6E3-5937E81B8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60903" y="159026"/>
            <a:ext cx="5778697" cy="6542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2F26060-AE89-EF08-CF56-32E826AE60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2615" y="2216151"/>
            <a:ext cx="3943575" cy="3390900"/>
          </a:xfrm>
        </p:spPr>
        <p:txBody>
          <a:bodyPr anchor="t">
            <a:norm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JUST LOOK DOWN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RECURRENT CHALAZION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RECURRENT HORDEOLUM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ROSACEA</a:t>
            </a:r>
          </a:p>
        </p:txBody>
      </p:sp>
      <p:pic>
        <p:nvPicPr>
          <p:cNvPr id="5" name="Content Placeholder 4" descr="Close-up of a human eye and a worm&#10;&#10;Description automatically generated">
            <a:extLst>
              <a:ext uri="{FF2B5EF4-FFF2-40B4-BE49-F238E27FC236}">
                <a16:creationId xmlns:a16="http://schemas.microsoft.com/office/drawing/2014/main" id="{DD9937CB-B260-8147-A079-C17C76D27C3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14755" r="1" b="8465"/>
          <a:stretch/>
        </p:blipFill>
        <p:spPr>
          <a:xfrm>
            <a:off x="1682" y="10"/>
            <a:ext cx="6096000" cy="685799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3745597-CF0F-4C14-83C4-612B382A9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710258" y="5849932"/>
            <a:ext cx="867485" cy="115439"/>
            <a:chOff x="8910933" y="1861308"/>
            <a:chExt cx="867485" cy="115439"/>
          </a:xfrm>
        </p:grpSpPr>
        <p:sp>
          <p:nvSpPr>
            <p:cNvPr id="29" name="Rectangle 18">
              <a:extLst>
                <a:ext uri="{FF2B5EF4-FFF2-40B4-BE49-F238E27FC236}">
                  <a16:creationId xmlns:a16="http://schemas.microsoft.com/office/drawing/2014/main" id="{471CB755-D435-4BD8-A3DB-B304ED0E74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B7F2CAE-48A1-4EAD-BDD1-4DA217AC0F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98FB73A0-9D61-4989-BA5F-7EF6308D86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0535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F284-61A2-8B4D-BD0F-740DA164F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sz="2500"/>
              <a:t>PARASYMPATHETIC ACTIVIT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79E85709-B1DE-4675-9BE8-8E79D67A3B2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9551721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666577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D3B3C7E-BC2D-4436-8B03-AC421FA66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B5D0C1-066E-4C02-A6B8-59FAE4A19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DD8EACB7-D372-470B-B76E-A829D0031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FBE11A49-02A1-4D4C-9A49-CDF496B109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23900" y="723900"/>
            <a:ext cx="4614421" cy="5494694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0DD084-6E09-3642-94B0-3A5B422CF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340" y="1066800"/>
            <a:ext cx="3931320" cy="226719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kern="1200" cap="all" spc="390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XDEMVY</a:t>
            </a:r>
          </a:p>
        </p:txBody>
      </p:sp>
      <p:pic>
        <p:nvPicPr>
          <p:cNvPr id="5" name="Content Placeholder 4" descr="A white bottle with a brown cap next to a box&#10;&#10;Description automatically generated">
            <a:extLst>
              <a:ext uri="{FF2B5EF4-FFF2-40B4-BE49-F238E27FC236}">
                <a16:creationId xmlns:a16="http://schemas.microsoft.com/office/drawing/2014/main" id="{F35021C5-47AE-C24C-9422-48A878A3FB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62222" y="1113065"/>
            <a:ext cx="5439657" cy="465090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1732D3A-CFF0-45BE-AD79-F83D0272C6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3871114"/>
            <a:ext cx="867485" cy="115439"/>
            <a:chOff x="8910933" y="1861308"/>
            <a:chExt cx="867485" cy="11543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892F72C-7FB6-49C8-A402-D5DC42DB67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92C2E1-605F-49BD-8AC8-DC52B3015E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8BE2E0F-EE6D-4748-AB8F-724D0DDC6E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358088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22D3F-3761-374A-A05C-40737170D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XDEMV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E5CFF-FCEC-6E49-BA41-7393305942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XDEMVY (LOTILANER) IS AN ANTIPARASITIC AGENNT APPROVED FOR DEMODEX BLEPHARIT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ALYZES AND ERADICATES MITES – SELECTIVELY INHIBITS PARASITE SPECIFIC Y-AMINOBUTYRIC ACID CHLORIDE CHANN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 DROP BID X 6-12 WEE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PEATABLE?</a:t>
            </a:r>
          </a:p>
        </p:txBody>
      </p:sp>
    </p:spTree>
    <p:extLst>
      <p:ext uri="{BB962C8B-B14F-4D97-AF65-F5344CB8AC3E}">
        <p14:creationId xmlns:p14="http://schemas.microsoft.com/office/powerpoint/2010/main" val="188116264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F6E39-5739-E248-ABF8-94CDB16A6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295" y="1066801"/>
            <a:ext cx="4612277" cy="207732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kern="1200" cap="all" spc="390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7750B-6092-E34C-9A2C-FF18B8874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4896" y="4876803"/>
            <a:ext cx="4241074" cy="1233323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dirty="0"/>
              <a:t>QUESTIONS? DRMARIA@OCULARPRIME.COM</a:t>
            </a:r>
          </a:p>
        </p:txBody>
      </p:sp>
      <p:pic>
        <p:nvPicPr>
          <p:cNvPr id="35" name="Picture 4" descr="Question mark on green pastel background">
            <a:extLst>
              <a:ext uri="{FF2B5EF4-FFF2-40B4-BE49-F238E27FC236}">
                <a16:creationId xmlns:a16="http://schemas.microsoft.com/office/drawing/2014/main" id="{C16D672D-E8B3-459B-8653-749C0BE7F3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052"/>
          <a:stretch/>
        </p:blipFill>
        <p:spPr>
          <a:xfrm>
            <a:off x="20" y="10"/>
            <a:ext cx="5938847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935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4885B7-5420-BF49-8613-67021329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CHOLINERGIC AGONIST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D145E68-2739-45C2-9E01-DCCE110D331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9603238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8424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1A01047-632B-4F57-9CDB-AA680D5BB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D7753FE-7408-46D8-999A-0B0C34EA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8700" y="1028700"/>
            <a:ext cx="4038600" cy="484107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ED6B8E-380E-A342-AD73-7009B20BA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40" y="1653540"/>
            <a:ext cx="3246119" cy="2608006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PILOCARPIN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0DE9CB-4267-487A-915E-5665607E9F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614258" y="4550150"/>
            <a:ext cx="867485" cy="115439"/>
            <a:chOff x="8910933" y="1861308"/>
            <a:chExt cx="867485" cy="1154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7361B-A61F-4EEA-8554-10DEFF0ABE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BC8A6A-A883-4F9C-82BA-607223F36C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234343E-05EC-4327-BA72-FD68FF0491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2029719F-8578-4BAF-A2C0-9D66423F310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43435"/>
              </p:ext>
            </p:extLst>
          </p:nvPr>
        </p:nvGraphicFramePr>
        <p:xfrm>
          <a:off x="5952683" y="1042449"/>
          <a:ext cx="5210616" cy="4786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43031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ornVTI">
  <a:themeElements>
    <a:clrScheme name="AnalogousFromDarkSeedLeftStep">
      <a:dk1>
        <a:srgbClr val="000000"/>
      </a:dk1>
      <a:lt1>
        <a:srgbClr val="FFFFFF"/>
      </a:lt1>
      <a:dk2>
        <a:srgbClr val="1C2B31"/>
      </a:dk2>
      <a:lt2>
        <a:srgbClr val="F2F3F0"/>
      </a:lt2>
      <a:accent1>
        <a:srgbClr val="9129E7"/>
      </a:accent1>
      <a:accent2>
        <a:srgbClr val="4E39DB"/>
      </a:accent2>
      <a:accent3>
        <a:srgbClr val="2960E7"/>
      </a:accent3>
      <a:accent4>
        <a:srgbClr val="179DD5"/>
      </a:accent4>
      <a:accent5>
        <a:srgbClr val="22C1AE"/>
      </a:accent5>
      <a:accent6>
        <a:srgbClr val="15C566"/>
      </a:accent6>
      <a:hlink>
        <a:srgbClr val="34999E"/>
      </a:hlink>
      <a:folHlink>
        <a:srgbClr val="7F7F7F"/>
      </a:folHlink>
    </a:clrScheme>
    <a:fontScheme name="Bembo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dornVTI" id="{497E3FA9-5A27-4D12-9D04-917BEF3D1303}" vid="{34192A01-61CA-4566-9818-841C607496F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23</TotalTime>
  <Words>1503</Words>
  <Application>Microsoft Macintosh PowerPoint</Application>
  <PresentationFormat>Widescreen</PresentationFormat>
  <Paragraphs>274</Paragraphs>
  <Slides>7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rial</vt:lpstr>
      <vt:lpstr>Bembo</vt:lpstr>
      <vt:lpstr>Wingdings</vt:lpstr>
      <vt:lpstr>AdornVTI</vt:lpstr>
      <vt:lpstr>think-cell Slide</vt:lpstr>
      <vt:lpstr>Pharmacology update</vt:lpstr>
      <vt:lpstr>   Financial Disclosures</vt:lpstr>
      <vt:lpstr>PowerPoint Presentation</vt:lpstr>
      <vt:lpstr>PowerPoint Presentation</vt:lpstr>
      <vt:lpstr>PowerPoint Presentation</vt:lpstr>
      <vt:lpstr>Autonomic Review</vt:lpstr>
      <vt:lpstr>PARASYMPATHETIC ACTIVITY</vt:lpstr>
      <vt:lpstr>CHOLINERGIC AGONISTS</vt:lpstr>
      <vt:lpstr>PILOCARPINE</vt:lpstr>
      <vt:lpstr>Vuity (pilocarpine 1.25% HCL)     </vt:lpstr>
      <vt:lpstr>PILOCARPINE</vt:lpstr>
      <vt:lpstr>SYMPATHETIC ACTIVITY</vt:lpstr>
      <vt:lpstr>CHOLINERGIC ANTAGONISTS</vt:lpstr>
      <vt:lpstr>ANTI-HISTAMINES</vt:lpstr>
      <vt:lpstr>ANTI-PSYCHOTICS</vt:lpstr>
      <vt:lpstr>PowerPoint Presentation</vt:lpstr>
      <vt:lpstr>Autonomic Review</vt:lpstr>
      <vt:lpstr>ADRENERGIC ACTIVITY</vt:lpstr>
      <vt:lpstr>ALPHA 2 AGONIST</vt:lpstr>
      <vt:lpstr>PowerPoint Presentation</vt:lpstr>
      <vt:lpstr>PowerPoint Presentation</vt:lpstr>
      <vt:lpstr>Upneeq® Lifts the Upper Eyelids*</vt:lpstr>
      <vt:lpstr>Upneeq® Lifts the Upper Eyelids*</vt:lpstr>
      <vt:lpstr>Upneeq® Lifts the Upper Eyelids*</vt:lpstr>
      <vt:lpstr>WHORL KERATOPATHY</vt:lpstr>
      <vt:lpstr>HYDROXYCHLOROQUINE</vt:lpstr>
      <vt:lpstr>PowerPoint Presentation</vt:lpstr>
      <vt:lpstr>KEY TAKEAWAY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AION</vt:lpstr>
      <vt:lpstr>DRUG INDUCED NAION</vt:lpstr>
      <vt:lpstr>GLAUCOMA</vt:lpstr>
      <vt:lpstr>PROSTAGLANDINS</vt:lpstr>
      <vt:lpstr>PROSTOGLANDINS</vt:lpstr>
      <vt:lpstr>PowerPoint Presentation</vt:lpstr>
      <vt:lpstr>PowerPoint Presentation</vt:lpstr>
      <vt:lpstr>CARBONIC ANHYDROSE INHIBITORS</vt:lpstr>
      <vt:lpstr>CARBONIC ANHYDRASE INHIBITORS</vt:lpstr>
      <vt:lpstr>BETA BLOCKERS</vt:lpstr>
      <vt:lpstr>BETA BLOCKERS</vt:lpstr>
      <vt:lpstr>BETA BLOCKERS</vt:lpstr>
      <vt:lpstr>Dual Outflow MOA:</vt:lpstr>
      <vt:lpstr>Rock inhibitors</vt:lpstr>
      <vt:lpstr>PowerPoint Presentation</vt:lpstr>
      <vt:lpstr>Combination:</vt:lpstr>
      <vt:lpstr>DRY EYE UPDATE: T CELL INBHIBITORS</vt:lpstr>
      <vt:lpstr>DRY EYE UPDATE: PREVENTS ADHESION, ACTIVATION, MIGRATION AND PROLIFERATION OF LYMPHOCYTES</vt:lpstr>
      <vt:lpstr>DRY EYE UPDATE: TYRVAYA nasal spray contains varenicline which is a partial nicotinic acetylcholine receptor agonist(cholinergic agonis   -    binding produces agonist activity and activates the    trigeminal parasympathetic pathway resulting inincreased production of basal tear film   </vt:lpstr>
      <vt:lpstr>PowerPoint Presentation</vt:lpstr>
      <vt:lpstr>First for evaporative dry eye</vt:lpstr>
      <vt:lpstr>MIEBO MOA</vt:lpstr>
      <vt:lpstr>BEFORE MIEBO:</vt:lpstr>
      <vt:lpstr>10 MINUTES AFTER MIEBO</vt:lpstr>
      <vt:lpstr>CYCLOSPORINE 0.1% </vt:lpstr>
      <vt:lpstr>VEVYE</vt:lpstr>
      <vt:lpstr>IS IT REALLY DRY EYE?</vt:lpstr>
      <vt:lpstr>NEUROTROPHIC RISK FACTORS:</vt:lpstr>
      <vt:lpstr>PowerPoint Presentation</vt:lpstr>
      <vt:lpstr>OXERVATE</vt:lpstr>
      <vt:lpstr>BLEPHARITIS</vt:lpstr>
      <vt:lpstr>PowerPoint Presentation</vt:lpstr>
      <vt:lpstr>PowerPoint Presentation</vt:lpstr>
      <vt:lpstr>XDEMVY</vt:lpstr>
      <vt:lpstr>XDEMVY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armacology update</dc:title>
  <dc:creator>Maria Pribis</dc:creator>
  <cp:lastModifiedBy>Maria Pribis</cp:lastModifiedBy>
  <cp:revision>26</cp:revision>
  <dcterms:created xsi:type="dcterms:W3CDTF">2021-11-12T12:36:08Z</dcterms:created>
  <dcterms:modified xsi:type="dcterms:W3CDTF">2024-10-04T12:10:17Z</dcterms:modified>
</cp:coreProperties>
</file>